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9" r:id="rId4"/>
    <p:sldMasterId id="2147483733" r:id="rId5"/>
    <p:sldMasterId id="2147483763" r:id="rId6"/>
    <p:sldMasterId id="2147483816" r:id="rId7"/>
  </p:sldMasterIdLst>
  <p:notesMasterIdLst>
    <p:notesMasterId r:id="rId11"/>
  </p:notesMasterIdLst>
  <p:sldIdLst>
    <p:sldId id="2147479750" r:id="rId8"/>
    <p:sldId id="2147479753" r:id="rId9"/>
    <p:sldId id="2147479752" r:id="rId10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A5CA239-F4B9-31FB-FB44-EF16666F2754}" name="MEILHAN Anne" initials="MA" userId="S::anne.meilhan@somfy.com::ff8e5100-396f-4519-9bf2-060bd9216942" providerId="AD"/>
  <p188:author id="{30C23F4F-BB59-EA6E-D686-4CC034324E62}" name="BELLEVERGUE Veronique" initials="BV" userId="S::veronique.bellevergue@somfy.com::430427cb-b574-4a8a-8701-809d639c8691" providerId="AD"/>
  <p188:author id="{FBBCF78E-E152-4F8C-5039-3FB8C0B42179}" name="WESTERMANN Marc" initials="WM" userId="S::marc.westermann@somfy.com::1ed1c63c-33d8-4452-af81-a22725a88a6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D4D5E"/>
    <a:srgbClr val="CCC4BD"/>
    <a:srgbClr val="F1EBE1"/>
    <a:srgbClr val="ECECEC"/>
    <a:srgbClr val="25485A"/>
    <a:srgbClr val="9E0001"/>
    <a:srgbClr val="25484A"/>
    <a:srgbClr val="2548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C9DF30B-24DA-4D48-81DE-3481F62E1549}" v="30" dt="2025-08-27T14:29:54.53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Styl jasny 2 — Ak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Styl jasny 2 — Ak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Styl jasny 2 — Ak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Styl jasny 2 — Ak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Styl jasny 2 — Ak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284E427A-3D55-4303-BF80-6455036E1DE7}" styleName="Styl z motywem 1 — Ak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Styl z motywem 1 — Ak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8A107856-5554-42FB-B03E-39F5DBC370BA}" styleName="Styl pośredni 4 — Ak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D7AC3CCA-C797-4891-BE02-D94E43425B78}" styleName="Styl pośredni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75DCB02-9BB8-47FD-8907-85C794F793BA}" styleName="Styl z motywem 1 — Ak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Styl z motywem 1 — Ak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73A0DAA-6AF3-43AB-8588-CEC1D06C72B9}" styleName="Styl pośredni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presProps" Target="presProp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5A9648-C67D-1641-9718-286FC44C8F36}" type="datetimeFigureOut">
              <a:rPr lang="en-GB" smtClean="0"/>
              <a:t>25/09/2025</a:t>
            </a:fld>
            <a:endParaRPr lang="en-GB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23D62F-7CA3-B74D-B033-82529AB9C0F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58219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>
              <a:highlight>
                <a:srgbClr val="FFFF00"/>
              </a:highlight>
            </a:endParaRPr>
          </a:p>
          <a:p>
            <a:endParaRPr lang="fr-FR">
              <a:highlight>
                <a:srgbClr val="FFFF00"/>
              </a:highlight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AB9880-5783-4899-9FDC-04A9C8799625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15047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4" Type="http://schemas.openxmlformats.org/officeDocument/2006/relationships/image" Target="../media/image3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DE369-B809-0CBB-5B60-A7547B08F3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lnSpc>
                <a:spcPct val="90000"/>
              </a:lnSpc>
              <a:defRPr sz="4400" b="0" i="0">
                <a:solidFill>
                  <a:srgbClr val="25485A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F5A8C2-FA21-B5B7-3F72-D7BFB7E4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8738" y="5787025"/>
            <a:ext cx="1714522" cy="548461"/>
          </a:xfrm>
          <a:prstGeom prst="roundRect">
            <a:avLst>
              <a:gd name="adj" fmla="val 50000"/>
            </a:avLst>
          </a:prstGeom>
          <a:ln w="19050">
            <a:solidFill>
              <a:schemeClr val="accent2"/>
            </a:solidFill>
          </a:ln>
        </p:spPr>
        <p:txBody>
          <a:bodyPr anchor="ctr"/>
          <a:lstStyle>
            <a:lvl1pPr algn="ctr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CD4729C-2FE4-A0AD-5186-E74DC4E69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2434" y="730152"/>
            <a:ext cx="1147131" cy="300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2142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5277531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1" i="0">
                <a:solidFill>
                  <a:srgbClr val="25485A"/>
                </a:solidFill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  <a:lvl3pPr>
              <a:defRPr>
                <a:solidFill>
                  <a:srgbClr val="25485A"/>
                </a:solidFill>
              </a:defRPr>
            </a:lvl3pPr>
            <a:lvl4pPr marL="16002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4pPr>
            <a:lvl5pPr>
              <a:defRPr>
                <a:solidFill>
                  <a:srgbClr val="25485A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F9342762-9DB2-0BB3-8BF7-2B308D839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1325563"/>
          </a:xfrm>
        </p:spPr>
        <p:txBody>
          <a:bodyPr/>
          <a:lstStyle>
            <a:lvl1pPr>
              <a:defRPr>
                <a:solidFill>
                  <a:srgbClr val="25485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" name="Espace réservé du contenu 2">
            <a:extLst>
              <a:ext uri="{FF2B5EF4-FFF2-40B4-BE49-F238E27FC236}">
                <a16:creationId xmlns:a16="http://schemas.microsoft.com/office/drawing/2014/main" id="{5EEBB565-0D5F-A163-B519-39BD3169B0E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73999" y="2240895"/>
            <a:ext cx="5277531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1" i="0">
                <a:solidFill>
                  <a:srgbClr val="25485A"/>
                </a:solidFill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  <a:lvl3pPr>
              <a:defRPr>
                <a:solidFill>
                  <a:srgbClr val="25485A"/>
                </a:solidFill>
              </a:defRPr>
            </a:lvl3pPr>
            <a:lvl4pPr marL="16002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4pPr>
            <a:lvl5pPr>
              <a:defRPr>
                <a:solidFill>
                  <a:srgbClr val="25485A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172554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re seu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65A855C-7B5F-B724-2CFF-9DAE4618E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2230" y="5907606"/>
            <a:ext cx="1167540" cy="305474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D7A9C26E-9B63-CA17-BC4B-0C1A07859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9224" y="2959490"/>
            <a:ext cx="2653552" cy="939020"/>
          </a:xfrm>
          <a:prstGeom prst="round2SameRect">
            <a:avLst>
              <a:gd name="adj1" fmla="val 50000"/>
              <a:gd name="adj2" fmla="val 50000"/>
            </a:avLst>
          </a:prstGeom>
          <a:ln w="28575"/>
        </p:spPr>
        <p:txBody>
          <a:bodyPr vert="horz" tIns="72000" bIns="72000">
            <a:normAutofit/>
          </a:bodyPr>
          <a:lstStyle>
            <a:lvl1pPr algn="ct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Merci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985156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682775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Une image contenant dessin&#10;&#10;Description générée automatiquement">
            <a:extLst>
              <a:ext uri="{FF2B5EF4-FFF2-40B4-BE49-F238E27FC236}">
                <a16:creationId xmlns:a16="http://schemas.microsoft.com/office/drawing/2014/main" id="{DD459A1F-D918-964D-A3BD-F7C2C516A1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75632"/>
            <a:ext cx="1073820" cy="375648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1024C451-6E79-5244-B00D-81BE5A10DC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r>
              <a:rPr lang="fr-FR"/>
              <a:t>Somfy Smart Shading off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C004205-B1EA-384E-979B-2FD40D4D0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3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02C962-26B5-D149-9D70-F691507E255A}"/>
              </a:ext>
            </a:extLst>
          </p:cNvPr>
          <p:cNvSpPr txBox="1"/>
          <p:nvPr userDrawn="1"/>
        </p:nvSpPr>
        <p:spPr>
          <a:xfrm>
            <a:off x="533400" y="6440780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0" i="0">
                <a:solidFill>
                  <a:srgbClr val="FFC000"/>
                </a:solidFill>
                <a:latin typeface="Somfy Sans" pitchFamily="2" charset="0"/>
              </a:rPr>
              <a:t>I</a:t>
            </a: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id="{11D51AE7-5366-3643-9BEE-452617286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omfy Sans" pitchFamily="2" charset="0"/>
              </a:defRPr>
            </a:lvl1pPr>
          </a:lstStyle>
          <a:p>
            <a:r>
              <a:rPr lang="fr-FR" err="1"/>
              <a:t>Title</a:t>
            </a:r>
            <a:endParaRPr lang="fr-FR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6FD5D06D-88CA-D342-8CAC-27ADB35435D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0" i="0">
                <a:solidFill>
                  <a:srgbClr val="FFC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40037542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 - Lef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331763" y="1635569"/>
            <a:ext cx="5903912" cy="4073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0" i="0"/>
            </a:lvl1pPr>
          </a:lstStyle>
          <a:p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7320136" y="2241096"/>
            <a:ext cx="4189418" cy="30777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lang="en-US" sz="1400" b="0" i="0" smtClean="0">
                <a:solidFill>
                  <a:schemeClr val="tx1"/>
                </a:solidFill>
                <a:latin typeface="Somfy Sans Light" pitchFamily="2" charset="0"/>
                <a:ea typeface="+mn-ea"/>
                <a:cs typeface="+mn-cs"/>
              </a:defRPr>
            </a:lvl1pPr>
            <a:lvl2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algn="just">
              <a:spcBef>
                <a:spcPts val="1200"/>
              </a:spcBef>
            </a:pPr>
            <a:r>
              <a:rPr lang="en-US"/>
              <a:t>Your description her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320136" y="1631933"/>
            <a:ext cx="4189417" cy="523220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 marL="0" indent="0">
              <a:buNone/>
              <a:defRPr lang="en-US" sz="2800" b="0" i="0">
                <a:solidFill>
                  <a:schemeClr val="tx2"/>
                </a:solidFill>
                <a:latin typeface="Somfy Sans" pitchFamily="2" charset="0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Your title here</a:t>
            </a:r>
          </a:p>
        </p:txBody>
      </p:sp>
      <p:pic>
        <p:nvPicPr>
          <p:cNvPr id="15" name="Image 14" descr="Une image contenant dessin&#10;&#10;Description générée automatiquement">
            <a:extLst>
              <a:ext uri="{FF2B5EF4-FFF2-40B4-BE49-F238E27FC236}">
                <a16:creationId xmlns:a16="http://schemas.microsoft.com/office/drawing/2014/main" id="{285CCC1D-1982-274D-BB12-55F2BF3403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75632"/>
            <a:ext cx="1073820" cy="375648"/>
          </a:xfrm>
          <a:prstGeom prst="rect">
            <a:avLst/>
          </a:prstGeom>
        </p:spPr>
      </p:pic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62626741-9D1E-3E4D-8417-9E6B48031A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r>
              <a:rPr lang="fr-FR"/>
              <a:t>Somfy Smart Shading offer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EAB78EB9-7E9A-2241-B5FA-F96DFEEA45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3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442F3494-024F-E54F-AC81-CD9D613EF1E2}"/>
              </a:ext>
            </a:extLst>
          </p:cNvPr>
          <p:cNvSpPr txBox="1"/>
          <p:nvPr userDrawn="1"/>
        </p:nvSpPr>
        <p:spPr>
          <a:xfrm>
            <a:off x="533400" y="6440780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0" i="0">
                <a:solidFill>
                  <a:srgbClr val="FFC000"/>
                </a:solidFill>
                <a:latin typeface="Somfy Sans" pitchFamily="2" charset="0"/>
              </a:rPr>
              <a:t>I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407174D8-6145-2C4E-B5F7-77AF252CB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omfy Sans" pitchFamily="2" charset="0"/>
              </a:defRPr>
            </a:lvl1pPr>
          </a:lstStyle>
          <a:p>
            <a:r>
              <a:rPr lang="fr-FR" err="1"/>
              <a:t>Title</a:t>
            </a:r>
            <a:endParaRPr lang="fr-FR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BDA64B4C-C1DB-C94D-A98F-3936F7A8B93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0" i="0">
                <a:solidFill>
                  <a:srgbClr val="FFC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312676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11126798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1" i="0">
                <a:solidFill>
                  <a:srgbClr val="25485A"/>
                </a:solidFill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  <a:lvl3pPr>
              <a:defRPr>
                <a:solidFill>
                  <a:srgbClr val="25485A"/>
                </a:solidFill>
              </a:defRPr>
            </a:lvl3pPr>
            <a:lvl4pPr marL="16002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4pPr>
            <a:lvl5pPr>
              <a:defRPr>
                <a:solidFill>
                  <a:srgbClr val="25485A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F9342762-9DB2-0BB3-8BF7-2B308D839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1325563"/>
          </a:xfrm>
        </p:spPr>
        <p:txBody>
          <a:bodyPr/>
          <a:lstStyle>
            <a:lvl1pPr>
              <a:defRPr>
                <a:solidFill>
                  <a:srgbClr val="25485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9634635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10">
            <a:extLst>
              <a:ext uri="{FF2B5EF4-FFF2-40B4-BE49-F238E27FC236}">
                <a16:creationId xmlns:a16="http://schemas.microsoft.com/office/drawing/2014/main" id="{E68ACBD4-483B-BDB9-8E53-C17EF5B552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5545" y="2426677"/>
            <a:ext cx="3262313" cy="3772511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25485A"/>
                </a:solidFill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9E969D69-B45D-F96D-5E11-A35E374DEC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5545" y="792291"/>
            <a:ext cx="2936482" cy="973879"/>
          </a:xfrm>
        </p:spPr>
        <p:txBody>
          <a:bodyPr bIns="108000">
            <a:noAutofit/>
          </a:bodyPr>
          <a:lstStyle>
            <a:lvl1pPr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pPr lvl="0"/>
            <a:r>
              <a:rPr lang="fr-FR"/>
              <a:t>Modifiez le style du </a:t>
            </a:r>
            <a:r>
              <a:rPr lang="fr-FR" err="1"/>
              <a:t>tit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174768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D31E579B-CA79-0E59-E871-3FEA98143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BA999C-DC4E-AFE5-109E-78D174E34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37AC010-C91C-EAD8-4914-1CB6A4D85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3192" y="6360296"/>
            <a:ext cx="392056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7CFACC1-CD51-EC38-B4C6-A2386A077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95624" y="1381125"/>
            <a:ext cx="6000750" cy="4095750"/>
          </a:xfrm>
          <a:prstGeom prst="roundRect">
            <a:avLst>
              <a:gd name="adj" fmla="val 12016"/>
            </a:avLst>
          </a:prstGeom>
          <a:solidFill>
            <a:schemeClr val="accent3"/>
          </a:solidFill>
        </p:spPr>
        <p:txBody>
          <a:bodyPr lIns="468000" tIns="324000" rIns="468000" bIns="468000">
            <a:normAutofit/>
          </a:bodyPr>
          <a:lstStyle>
            <a:lvl1pPr>
              <a:defRPr sz="2000" b="1">
                <a:solidFill>
                  <a:srgbClr val="25485A"/>
                </a:solidFill>
              </a:defRPr>
            </a:lvl1pPr>
            <a:lvl2pPr marL="457200" indent="0">
              <a:buNone/>
              <a:defRPr sz="1800" b="0">
                <a:solidFill>
                  <a:schemeClr val="accent2"/>
                </a:solidFill>
              </a:defRPr>
            </a:lvl2pPr>
            <a:lvl3pPr>
              <a:defRPr sz="1600" b="0">
                <a:solidFill>
                  <a:schemeClr val="accent2"/>
                </a:solidFill>
              </a:defRPr>
            </a:lvl3pPr>
            <a:lvl4pPr>
              <a:defRPr sz="1400" b="0">
                <a:solidFill>
                  <a:schemeClr val="accent2"/>
                </a:solidFill>
              </a:defRPr>
            </a:lvl4pPr>
            <a:lvl5pPr>
              <a:defRPr sz="14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C4CAA0-969E-2D46-7D12-8B86F436EA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3138" y="3067050"/>
            <a:ext cx="776037" cy="819150"/>
          </a:xfr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83F28675-C92D-81C6-4262-C29A0BA0304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07981" y="3067050"/>
            <a:ext cx="776037" cy="819150"/>
          </a:xfr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4AB7EF7-AD08-88C8-1B9E-719F81EF3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961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rgbClr val="25485A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rgbClr val="25485A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717D1F2-D833-4BD2-FBD6-010787685B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6804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rgbClr val="25485A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rgbClr val="25485A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pour une image  12">
            <a:extLst>
              <a:ext uri="{FF2B5EF4-FFF2-40B4-BE49-F238E27FC236}">
                <a16:creationId xmlns:a16="http://schemas.microsoft.com/office/drawing/2014/main" id="{1DDB1634-5A81-65E5-1962-8139E566AA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506324" y="3067050"/>
            <a:ext cx="776037" cy="819150"/>
          </a:xfr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F00006B8-DCDC-66B0-C8B4-7C91E4056D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5147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rgbClr val="25485A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rgbClr val="25485A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E3889A12-6904-A817-264C-3F055299B3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5769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111AE8-D56F-310E-89DB-21D874755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253C80-252C-394C-372C-6EC46004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C954B6BB-57EA-C495-6B5D-EF46295EF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25485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1674639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85677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65A855C-7B5F-B724-2CFF-9DAE4618E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2230" y="5907606"/>
            <a:ext cx="1167540" cy="305474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D7A9C26E-9B63-CA17-BC4B-0C1A07859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9224" y="2959490"/>
            <a:ext cx="2653552" cy="939020"/>
          </a:xfrm>
          <a:prstGeom prst="round2SameRect">
            <a:avLst>
              <a:gd name="adj1" fmla="val 50000"/>
              <a:gd name="adj2" fmla="val 50000"/>
            </a:avLst>
          </a:prstGeom>
          <a:ln w="28575">
            <a:solidFill>
              <a:schemeClr val="accent2"/>
            </a:solidFill>
          </a:ln>
        </p:spPr>
        <p:txBody>
          <a:bodyPr vert="horz" tIns="72000" bIns="72000">
            <a:normAutofit/>
          </a:bodyPr>
          <a:lstStyle>
            <a:lvl1pPr algn="ctr">
              <a:defRPr sz="32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 err="1"/>
              <a:t>Thank</a:t>
            </a:r>
            <a:r>
              <a:rPr lang="fr-FR"/>
              <a:t> </a:t>
            </a:r>
            <a:r>
              <a:rPr lang="fr-FR" err="1"/>
              <a:t>yo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07760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6" name="ZoneTexte 5"/>
          <p:cNvSpPr txBox="1"/>
          <p:nvPr userDrawn="1"/>
        </p:nvSpPr>
        <p:spPr>
          <a:xfrm>
            <a:off x="53597" y="312719"/>
            <a:ext cx="312160" cy="410433"/>
          </a:xfrm>
          <a:prstGeom prst="rect">
            <a:avLst/>
          </a:prstGeom>
          <a:noFill/>
        </p:spPr>
        <p:txBody>
          <a:bodyPr wrap="square" tIns="0" rIns="0" bIns="0" rtlCol="0" anchor="t" anchorCtr="0">
            <a:spAutoFit/>
          </a:bodyPr>
          <a:lstStyle/>
          <a:p>
            <a:pPr algn="r"/>
            <a:r>
              <a:rPr lang="fr-FR" sz="2667" b="1">
                <a:solidFill>
                  <a:srgbClr val="E95D0F"/>
                </a:solidFill>
              </a:rPr>
              <a:t>/</a:t>
            </a:r>
          </a:p>
        </p:txBody>
      </p:sp>
      <p:sp>
        <p:nvSpPr>
          <p:cNvPr id="8" name="Espace réservé du contenu 7"/>
          <p:cNvSpPr>
            <a:spLocks noGrp="1"/>
          </p:cNvSpPr>
          <p:nvPr>
            <p:ph sz="quarter" idx="13"/>
          </p:nvPr>
        </p:nvSpPr>
        <p:spPr>
          <a:xfrm>
            <a:off x="486834" y="988485"/>
            <a:ext cx="10104967" cy="386122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8" y="5963258"/>
            <a:ext cx="12191999" cy="891525"/>
          </a:xfrm>
          <a:prstGeom prst="rect">
            <a:avLst/>
          </a:prstGeom>
        </p:spPr>
      </p:pic>
      <p:sp>
        <p:nvSpPr>
          <p:cNvPr id="11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596051" y="6503533"/>
            <a:ext cx="3860800" cy="21082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467" cap="all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U DOCUMENT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265920" y="6503533"/>
            <a:ext cx="636693" cy="21082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600" b="1" cap="all">
                <a:solidFill>
                  <a:srgbClr val="E95D0F"/>
                </a:solidFill>
              </a:defRPr>
            </a:lvl1pPr>
          </a:lstStyle>
          <a:p>
            <a:fld id="{26B38A90-316F-AB4B-99AE-08E46F8057ED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3" name="Espace réservé de la date 6"/>
          <p:cNvSpPr>
            <a:spLocks noGrp="1"/>
          </p:cNvSpPr>
          <p:nvPr>
            <p:ph type="dt" sz="half" idx="2"/>
          </p:nvPr>
        </p:nvSpPr>
        <p:spPr>
          <a:xfrm>
            <a:off x="5283200" y="6503532"/>
            <a:ext cx="2844800" cy="250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67">
                <a:solidFill>
                  <a:srgbClr val="001C4B"/>
                </a:solidFill>
              </a:defRPr>
            </a:lvl1pPr>
          </a:lstStyle>
          <a:p>
            <a:fld id="{D22DAFA5-4332-564B-9A5F-8B63C19E24E3}" type="datetimeFigureOut">
              <a:rPr lang="fr-FR" smtClean="0"/>
              <a:pPr/>
              <a:t>25/09/20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563340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Une image contenant dessin&#10;&#10;Description générée automatiquement">
            <a:extLst>
              <a:ext uri="{FF2B5EF4-FFF2-40B4-BE49-F238E27FC236}">
                <a16:creationId xmlns:a16="http://schemas.microsoft.com/office/drawing/2014/main" id="{DD459A1F-D918-964D-A3BD-F7C2C516A1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5" y="175632"/>
            <a:ext cx="1073820" cy="375648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1024C451-6E79-5244-B00D-81BE5A10DC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fr-FR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C004205-B1EA-384E-979B-2FD40D4D0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5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02C962-26B5-D149-9D70-F691507E255A}"/>
              </a:ext>
            </a:extLst>
          </p:cNvPr>
          <p:cNvSpPr txBox="1"/>
          <p:nvPr userDrawn="1"/>
        </p:nvSpPr>
        <p:spPr>
          <a:xfrm>
            <a:off x="533400" y="6440781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>
                <a:solidFill>
                  <a:srgbClr val="FFC000"/>
                </a:solidFill>
              </a:rPr>
              <a:t>I</a:t>
            </a: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id="{11D51AE7-5366-3643-9BEE-452617286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/>
          <a:p>
            <a:r>
              <a:rPr lang="fr-FR" err="1"/>
              <a:t>Title</a:t>
            </a:r>
            <a:endParaRPr lang="fr-FR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6FD5D06D-88CA-D342-8CAC-27ADB35435D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1">
                <a:solidFill>
                  <a:srgbClr val="FFC000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6167508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suel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5342" y="1320582"/>
            <a:ext cx="5507189" cy="232949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6275342" y="2709237"/>
            <a:ext cx="5507191" cy="107721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pour une image  14"/>
          <p:cNvSpPr>
            <a:spLocks noGrp="1"/>
          </p:cNvSpPr>
          <p:nvPr>
            <p:ph type="pic" sz="quarter" idx="11"/>
          </p:nvPr>
        </p:nvSpPr>
        <p:spPr>
          <a:xfrm>
            <a:off x="409468" y="1053287"/>
            <a:ext cx="5470576" cy="5398408"/>
          </a:xfrm>
        </p:spPr>
        <p:txBody>
          <a:bodyPr wrap="none" anchor="ctr">
            <a:noAutofit/>
          </a:bodyPr>
          <a:lstStyle>
            <a:lvl1pPr algn="ctr">
              <a:defRPr sz="1600" b="0" i="0" cap="none" baseline="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98651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394" y="2315255"/>
            <a:ext cx="2911236" cy="222749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l">
              <a:defRPr sz="2800" b="0" i="0">
                <a:solidFill>
                  <a:srgbClr val="25485A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FE53A088-C685-698B-9C8F-EB253F9EA6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3073" y="0"/>
            <a:ext cx="9548927" cy="6858000"/>
          </a:xfrm>
          <a:custGeom>
            <a:avLst/>
            <a:gdLst>
              <a:gd name="connsiteX0" fmla="*/ 0 w 9548927"/>
              <a:gd name="connsiteY0" fmla="*/ 0 h 6858000"/>
              <a:gd name="connsiteX1" fmla="*/ 9548927 w 9548927"/>
              <a:gd name="connsiteY1" fmla="*/ 0 h 6858000"/>
              <a:gd name="connsiteX2" fmla="*/ 9548927 w 9548927"/>
              <a:gd name="connsiteY2" fmla="*/ 6858000 h 6858000"/>
              <a:gd name="connsiteX3" fmla="*/ 0 w 9548927"/>
              <a:gd name="connsiteY3" fmla="*/ 6858000 h 6858000"/>
              <a:gd name="connsiteX4" fmla="*/ 79067 w 9548927"/>
              <a:gd name="connsiteY4" fmla="*/ 6786139 h 6858000"/>
              <a:gd name="connsiteX5" fmla="*/ 938327 w 9548927"/>
              <a:gd name="connsiteY5" fmla="*/ 4711700 h 6858000"/>
              <a:gd name="connsiteX6" fmla="*/ 938327 w 9548927"/>
              <a:gd name="connsiteY6" fmla="*/ 2146300 h 6858000"/>
              <a:gd name="connsiteX7" fmla="*/ 79067 w 9548927"/>
              <a:gd name="connsiteY7" fmla="*/ 718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8927" h="6858000">
                <a:moveTo>
                  <a:pt x="0" y="0"/>
                </a:moveTo>
                <a:lnTo>
                  <a:pt x="9548927" y="0"/>
                </a:lnTo>
                <a:lnTo>
                  <a:pt x="9548927" y="6858000"/>
                </a:lnTo>
                <a:lnTo>
                  <a:pt x="0" y="6858000"/>
                </a:lnTo>
                <a:lnTo>
                  <a:pt x="79067" y="6786139"/>
                </a:lnTo>
                <a:cubicBezTo>
                  <a:pt x="609962" y="6255244"/>
                  <a:pt x="938327" y="5521819"/>
                  <a:pt x="938327" y="4711700"/>
                </a:cubicBezTo>
                <a:lnTo>
                  <a:pt x="938327" y="2146300"/>
                </a:lnTo>
                <a:cubicBezTo>
                  <a:pt x="938327" y="1336181"/>
                  <a:pt x="609962" y="602756"/>
                  <a:pt x="79067" y="7186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5A0458B-D994-457A-ACFB-C349E4723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68" y="731305"/>
            <a:ext cx="1147131" cy="300136"/>
          </a:xfrm>
          <a:prstGeom prst="rect">
            <a:avLst/>
          </a:prstGeom>
        </p:spPr>
      </p:pic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E1EF8DF-996F-8F9B-00FD-8AF399F4D5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393" y="5787025"/>
            <a:ext cx="1714522" cy="54846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l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96443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fr-FR"/>
              <a:t>CLIQUEZ ET MODIFIEZ LE TITRE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677D4868-0BF2-4E52-AA8E-B884136988A5}"/>
              </a:ext>
            </a:extLst>
          </p:cNvPr>
          <p:cNvCxnSpPr/>
          <p:nvPr userDrawn="1"/>
        </p:nvCxnSpPr>
        <p:spPr>
          <a:xfrm flipH="1">
            <a:off x="0" y="932723"/>
            <a:ext cx="2063552" cy="0"/>
          </a:xfrm>
          <a:prstGeom prst="line">
            <a:avLst/>
          </a:prstGeom>
          <a:ln w="38100">
            <a:solidFill>
              <a:srgbClr val="485B7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C6551A9-63F0-4505-80AC-A03A0A65A1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62726" y="725335"/>
            <a:ext cx="4705349" cy="207388"/>
          </a:xfrm>
        </p:spPr>
        <p:txBody>
          <a:bodyPr>
            <a:noAutofit/>
          </a:bodyPr>
          <a:lstStyle>
            <a:lvl1pPr marL="0" indent="0">
              <a:buNone/>
              <a:defRPr sz="1867">
                <a:solidFill>
                  <a:schemeClr val="tx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659406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DE369-B809-0CBB-5B60-A7547B08F3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lnSpc>
                <a:spcPct val="90000"/>
              </a:lnSpc>
              <a:defRPr sz="44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AAD364A-47A1-CDD7-1577-68A6D68569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688016"/>
            <a:ext cx="9144000" cy="780456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F5A8C2-FA21-B5B7-3F72-D7BFB7E4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8738" y="5787025"/>
            <a:ext cx="1714522" cy="548461"/>
          </a:xfrm>
          <a:prstGeom prst="roundRect">
            <a:avLst>
              <a:gd name="adj" fmla="val 50000"/>
            </a:avLst>
          </a:prstGeom>
          <a:ln w="19050">
            <a:solidFill>
              <a:schemeClr val="accent2"/>
            </a:solidFill>
          </a:ln>
        </p:spPr>
        <p:txBody>
          <a:bodyPr anchor="ctr"/>
          <a:lstStyle>
            <a:lvl1pPr algn="ctr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CD4729C-2FE4-A0AD-5186-E74DC4E69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2434" y="730152"/>
            <a:ext cx="1147131" cy="300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4746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394" y="2315255"/>
            <a:ext cx="2911236" cy="222749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l">
              <a:defRPr sz="28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FE53A088-C685-698B-9C8F-EB253F9EA6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3073" y="0"/>
            <a:ext cx="9548927" cy="6858000"/>
          </a:xfrm>
          <a:custGeom>
            <a:avLst/>
            <a:gdLst>
              <a:gd name="connsiteX0" fmla="*/ 0 w 9548927"/>
              <a:gd name="connsiteY0" fmla="*/ 0 h 6858000"/>
              <a:gd name="connsiteX1" fmla="*/ 9548927 w 9548927"/>
              <a:gd name="connsiteY1" fmla="*/ 0 h 6858000"/>
              <a:gd name="connsiteX2" fmla="*/ 9548927 w 9548927"/>
              <a:gd name="connsiteY2" fmla="*/ 6858000 h 6858000"/>
              <a:gd name="connsiteX3" fmla="*/ 0 w 9548927"/>
              <a:gd name="connsiteY3" fmla="*/ 6858000 h 6858000"/>
              <a:gd name="connsiteX4" fmla="*/ 79067 w 9548927"/>
              <a:gd name="connsiteY4" fmla="*/ 6786139 h 6858000"/>
              <a:gd name="connsiteX5" fmla="*/ 938327 w 9548927"/>
              <a:gd name="connsiteY5" fmla="*/ 4711700 h 6858000"/>
              <a:gd name="connsiteX6" fmla="*/ 938327 w 9548927"/>
              <a:gd name="connsiteY6" fmla="*/ 2146300 h 6858000"/>
              <a:gd name="connsiteX7" fmla="*/ 79067 w 9548927"/>
              <a:gd name="connsiteY7" fmla="*/ 718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8927" h="6858000">
                <a:moveTo>
                  <a:pt x="0" y="0"/>
                </a:moveTo>
                <a:lnTo>
                  <a:pt x="9548927" y="0"/>
                </a:lnTo>
                <a:lnTo>
                  <a:pt x="9548927" y="6858000"/>
                </a:lnTo>
                <a:lnTo>
                  <a:pt x="0" y="6858000"/>
                </a:lnTo>
                <a:lnTo>
                  <a:pt x="79067" y="6786139"/>
                </a:lnTo>
                <a:cubicBezTo>
                  <a:pt x="609962" y="6255244"/>
                  <a:pt x="938327" y="5521819"/>
                  <a:pt x="938327" y="4711700"/>
                </a:cubicBezTo>
                <a:lnTo>
                  <a:pt x="938327" y="2146300"/>
                </a:lnTo>
                <a:cubicBezTo>
                  <a:pt x="938327" y="1336181"/>
                  <a:pt x="609962" y="602756"/>
                  <a:pt x="79067" y="7186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5A0458B-D994-457A-ACFB-C349E4723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68" y="731305"/>
            <a:ext cx="1147131" cy="300136"/>
          </a:xfrm>
          <a:prstGeom prst="rect">
            <a:avLst/>
          </a:prstGeom>
        </p:spPr>
      </p:pic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E1EF8DF-996F-8F9B-00FD-8AF399F4D5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393" y="5787025"/>
            <a:ext cx="1714522" cy="54846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l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22119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1" y="2315255"/>
            <a:ext cx="3213287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24" name="Espace réservé pour une image  23">
            <a:extLst>
              <a:ext uri="{FF2B5EF4-FFF2-40B4-BE49-F238E27FC236}">
                <a16:creationId xmlns:a16="http://schemas.microsoft.com/office/drawing/2014/main" id="{34385CDF-2C47-C486-D02D-7871C97EDC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25" name="Sous-titre 2">
            <a:extLst>
              <a:ext uri="{FF2B5EF4-FFF2-40B4-BE49-F238E27FC236}">
                <a16:creationId xmlns:a16="http://schemas.microsoft.com/office/drawing/2014/main" id="{8E1BF216-F2B8-070D-7B30-BA9C864B9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879A9E24-52DC-AD25-9A3C-D1A983D6C8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7" name="Espace réservé du numéro de diapositive 5">
            <a:extLst>
              <a:ext uri="{FF2B5EF4-FFF2-40B4-BE49-F238E27FC236}">
                <a16:creationId xmlns:a16="http://schemas.microsoft.com/office/drawing/2014/main" id="{96083338-D259-6F17-D03F-915609FDCA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86762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169" y="1336431"/>
            <a:ext cx="11359661" cy="4185138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defRPr sz="23000" b="1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r>
              <a:rPr lang="fr-FR"/>
              <a:t>Chapitre</a:t>
            </a:r>
            <a:endParaRPr lang="en-GB"/>
          </a:p>
        </p:txBody>
      </p:sp>
      <p:sp>
        <p:nvSpPr>
          <p:cNvPr id="12" name="Sous-titre 2">
            <a:extLst>
              <a:ext uri="{FF2B5EF4-FFF2-40B4-BE49-F238E27FC236}">
                <a16:creationId xmlns:a16="http://schemas.microsoft.com/office/drawing/2014/main" id="{CF69F196-5ED5-D392-C81B-C0A0A0469E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13718" y="536820"/>
            <a:ext cx="2502877" cy="1343163"/>
          </a:xfrm>
        </p:spPr>
        <p:txBody>
          <a:bodyPr anchor="ctr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66102D1-AA91-8F4F-D7A4-4AD9A0E9D6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12628" y="3780692"/>
            <a:ext cx="4865199" cy="3077308"/>
          </a:xfrm>
        </p:spPr>
        <p:txBody>
          <a:bodyPr anchor="b">
            <a:noAutofit/>
          </a:bodyPr>
          <a:lstStyle>
            <a:lvl1pPr algn="r">
              <a:defRPr sz="24000" b="1" i="0">
                <a:ln>
                  <a:solidFill>
                    <a:schemeClr val="bg1"/>
                  </a:solidFill>
                </a:ln>
                <a:noFill/>
                <a:latin typeface="Somfy Sans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01</a:t>
            </a:r>
            <a:endParaRPr lang="en-GB"/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830B4683-EC15-CEE9-D169-97CBF46A5E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25530AAE-B0DC-0415-EC10-0FD05B47BA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03858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2" y="2315255"/>
            <a:ext cx="321328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0" name="Forme libre 9">
            <a:extLst>
              <a:ext uri="{FF2B5EF4-FFF2-40B4-BE49-F238E27FC236}">
                <a16:creationId xmlns:a16="http://schemas.microsoft.com/office/drawing/2014/main" id="{BCFDDDBD-A5EF-27E9-0158-06EF3714BFA4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185F905-2A46-DA18-0D72-0DAE780035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221F716-E76D-A397-DFED-B644677D8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6603D368-D5F7-C70B-7A53-B9D82579A0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07374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184" y="3428999"/>
            <a:ext cx="7792416" cy="961059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184" y="4390059"/>
            <a:ext cx="779241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2" name="Forme libre 21">
            <a:extLst>
              <a:ext uri="{FF2B5EF4-FFF2-40B4-BE49-F238E27FC236}">
                <a16:creationId xmlns:a16="http://schemas.microsoft.com/office/drawing/2014/main" id="{A1D1098E-4556-0B2C-FAB3-29E4B5984BE0}"/>
              </a:ext>
            </a:extLst>
          </p:cNvPr>
          <p:cNvSpPr/>
          <p:nvPr userDrawn="1"/>
        </p:nvSpPr>
        <p:spPr>
          <a:xfrm rot="5400000">
            <a:off x="4381500" y="-4381500"/>
            <a:ext cx="3429000" cy="12192000"/>
          </a:xfrm>
          <a:custGeom>
            <a:avLst/>
            <a:gdLst>
              <a:gd name="connsiteX0" fmla="*/ 0 w 3429000"/>
              <a:gd name="connsiteY0" fmla="*/ 12192000 h 12192000"/>
              <a:gd name="connsiteX1" fmla="*/ 0 w 3429000"/>
              <a:gd name="connsiteY1" fmla="*/ 0 h 12192000"/>
              <a:gd name="connsiteX2" fmla="*/ 2557464 w 3429000"/>
              <a:gd name="connsiteY2" fmla="*/ 0 h 12192000"/>
              <a:gd name="connsiteX3" fmla="*/ 2667124 w 3429000"/>
              <a:gd name="connsiteY3" fmla="*/ 144828 h 12192000"/>
              <a:gd name="connsiteX4" fmla="*/ 3429000 w 3429000"/>
              <a:gd name="connsiteY4" fmla="*/ 2586181 h 12192000"/>
              <a:gd name="connsiteX5" fmla="*/ 3429000 w 3429000"/>
              <a:gd name="connsiteY5" fmla="*/ 9605822 h 12192000"/>
              <a:gd name="connsiteX6" fmla="*/ 2667124 w 3429000"/>
              <a:gd name="connsiteY6" fmla="*/ 12047174 h 12192000"/>
              <a:gd name="connsiteX7" fmla="*/ 2557465 w 3429000"/>
              <a:gd name="connsiteY7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0" h="12192000">
                <a:moveTo>
                  <a:pt x="0" y="12192000"/>
                </a:moveTo>
                <a:lnTo>
                  <a:pt x="0" y="0"/>
                </a:lnTo>
                <a:lnTo>
                  <a:pt x="2557464" y="0"/>
                </a:lnTo>
                <a:lnTo>
                  <a:pt x="2667124" y="144828"/>
                </a:lnTo>
                <a:cubicBezTo>
                  <a:pt x="3147512" y="837808"/>
                  <a:pt x="3429000" y="1679122"/>
                  <a:pt x="3429000" y="2586181"/>
                </a:cubicBezTo>
                <a:lnTo>
                  <a:pt x="3429000" y="9605822"/>
                </a:lnTo>
                <a:cubicBezTo>
                  <a:pt x="3429000" y="10512881"/>
                  <a:pt x="3147512" y="11354195"/>
                  <a:pt x="2667124" y="12047174"/>
                </a:cubicBezTo>
                <a:lnTo>
                  <a:pt x="2557465" y="1219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F5DB1B5-C789-AE52-661D-C028493A9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4" name="Espace réservé du numéro de diapositive 5">
            <a:extLst>
              <a:ext uri="{FF2B5EF4-FFF2-40B4-BE49-F238E27FC236}">
                <a16:creationId xmlns:a16="http://schemas.microsoft.com/office/drawing/2014/main" id="{8D7B533B-06A9-718B-E938-0FDFA1F88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60503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 : avec coins arrondis en haut 4">
            <a:extLst>
              <a:ext uri="{FF2B5EF4-FFF2-40B4-BE49-F238E27FC236}">
                <a16:creationId xmlns:a16="http://schemas.microsoft.com/office/drawing/2014/main" id="{E3F4E120-F862-27AD-D4DE-61FB32408D6E}"/>
              </a:ext>
            </a:extLst>
          </p:cNvPr>
          <p:cNvSpPr/>
          <p:nvPr userDrawn="1"/>
        </p:nvSpPr>
        <p:spPr>
          <a:xfrm>
            <a:off x="1574800" y="0"/>
            <a:ext cx="4140200" cy="4267200"/>
          </a:xfrm>
          <a:prstGeom prst="round2SameRect">
            <a:avLst>
              <a:gd name="adj1" fmla="val 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3142" y="650241"/>
            <a:ext cx="303185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83142" y="2805762"/>
            <a:ext cx="2539098" cy="1181591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767A10A-4DE5-7D58-39A6-743B0623F2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C7B0491C-31AA-33A2-9559-2AF726BB5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581A5DD-1E78-5925-08DC-492D51A07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99590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 : avec coins arrondis en haut 5">
            <a:extLst>
              <a:ext uri="{FF2B5EF4-FFF2-40B4-BE49-F238E27FC236}">
                <a16:creationId xmlns:a16="http://schemas.microsoft.com/office/drawing/2014/main" id="{27CAEBC4-144B-E241-7C2F-ED9196235B61}"/>
              </a:ext>
            </a:extLst>
          </p:cNvPr>
          <p:cNvSpPr/>
          <p:nvPr userDrawn="1"/>
        </p:nvSpPr>
        <p:spPr>
          <a:xfrm rot="5400000">
            <a:off x="6070600" y="-645160"/>
            <a:ext cx="4094480" cy="8148320"/>
          </a:xfrm>
          <a:prstGeom prst="round2SameRect">
            <a:avLst>
              <a:gd name="adj1" fmla="val 0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8822" y="2010455"/>
            <a:ext cx="668293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8822" y="3634626"/>
            <a:ext cx="668293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BE70A30-AC3D-C21B-D5A3-E3AF81F0EE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A418C663-5C06-BAA8-1ED3-F459AAE51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77E13569-47F7-A9EB-6548-583015548F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82964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874" y="3637281"/>
            <a:ext cx="339253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5874" y="5792803"/>
            <a:ext cx="3392538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F30702F7-5443-FCAB-0F0C-889A80B7BA6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86400" y="1625600"/>
            <a:ext cx="4803140" cy="5232400"/>
          </a:xfrm>
          <a:custGeom>
            <a:avLst/>
            <a:gdLst>
              <a:gd name="connsiteX0" fmla="*/ 2401570 w 4803140"/>
              <a:gd name="connsiteY0" fmla="*/ 0 h 5232400"/>
              <a:gd name="connsiteX1" fmla="*/ 4803140 w 4803140"/>
              <a:gd name="connsiteY1" fmla="*/ 2401570 h 5232400"/>
              <a:gd name="connsiteX2" fmla="*/ 4803140 w 4803140"/>
              <a:gd name="connsiteY2" fmla="*/ 5232400 h 5232400"/>
              <a:gd name="connsiteX3" fmla="*/ 0 w 4803140"/>
              <a:gd name="connsiteY3" fmla="*/ 5232400 h 5232400"/>
              <a:gd name="connsiteX4" fmla="*/ 0 w 4803140"/>
              <a:gd name="connsiteY4" fmla="*/ 2401570 h 5232400"/>
              <a:gd name="connsiteX5" fmla="*/ 2401570 w 4803140"/>
              <a:gd name="connsiteY5" fmla="*/ 0 h 52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03140" h="5232400">
                <a:moveTo>
                  <a:pt x="2401570" y="0"/>
                </a:moveTo>
                <a:cubicBezTo>
                  <a:pt x="3727920" y="0"/>
                  <a:pt x="4803140" y="1075220"/>
                  <a:pt x="4803140" y="2401570"/>
                </a:cubicBezTo>
                <a:lnTo>
                  <a:pt x="4803140" y="5232400"/>
                </a:lnTo>
                <a:lnTo>
                  <a:pt x="0" y="5232400"/>
                </a:lnTo>
                <a:lnTo>
                  <a:pt x="0" y="2401570"/>
                </a:lnTo>
                <a:cubicBezTo>
                  <a:pt x="0" y="1075220"/>
                  <a:pt x="1075220" y="0"/>
                  <a:pt x="24015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DC7CBAEF-A3CC-0809-62A7-999C8D0C1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46B59288-641E-BB0F-2D37-B1F487747B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46701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F5F5F7-4512-0EAE-850B-9D6161A6B1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0504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B2AE38F-F49E-C383-72B5-D0C3131BD2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0506" y="1798026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2DA2207-92D1-2F1E-0DB4-3B5058CC4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5E3658B-BA18-6272-2723-8765DF75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805F7E82-A139-4B89-6C7C-7756D0B23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760504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75DC4D65-568E-DC72-2076-42A24F61108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60506" y="2600914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707FE6A4-37EF-0BD0-9998-E42E05682CB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60504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39634420-DBC5-783D-98EB-F0C686A02ED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760506" y="3404995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6052C59-09F0-F27A-7498-B5877E79D60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760504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EDB500C8-4390-11BF-1866-294EB2E89FD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760506" y="4197538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50839CB2-6DAF-F5EA-C2A8-ADF6E9940A7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60504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3BD630F1-5EB4-3E89-27CA-4215A42D341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760506" y="5000033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93DDC2B-E7BD-2BD1-5E2D-48CC2C42206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938601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D7BD70F-9B56-BD52-FF5A-32EFE537FE3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938603" y="1798026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61ED1ED-25F3-B195-2804-81029EDF30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938601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6F17A58-1D87-011B-7352-200252423D6D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938603" y="2600914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6022D409-A30C-44D1-A50E-662EEDCC1D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938601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3A757127-DB86-224E-69B5-8F6D24A320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38603" y="3404995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55FE3FF-7D2F-968F-D15A-BEAE9B99315D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38601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A7A846F7-4DC6-0DAB-A74E-3F427B38C89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8938603" y="4197538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ABC3DD3-5F8E-6DCD-D021-0AB3A1A3DFF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938601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DEE3AA2A-2D14-568F-5799-E9C0D1C0821E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938603" y="5000033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6892EE5D-29F1-B631-BDCF-F8C06D229876}"/>
              </a:ext>
            </a:extLst>
          </p:cNvPr>
          <p:cNvSpPr txBox="1">
            <a:spLocks/>
          </p:cNvSpPr>
          <p:nvPr userDrawn="1"/>
        </p:nvSpPr>
        <p:spPr>
          <a:xfrm rot="5400000">
            <a:off x="1636496" y="1102178"/>
            <a:ext cx="1263421" cy="4653643"/>
          </a:xfrm>
          <a:prstGeom prst="round2SameRect">
            <a:avLst>
              <a:gd name="adj1" fmla="val 50000"/>
              <a:gd name="adj2" fmla="val 0"/>
            </a:avLst>
          </a:prstGeom>
          <a:noFill/>
          <a:ln w="28575">
            <a:solidFill>
              <a:schemeClr val="accent2"/>
            </a:solidFill>
          </a:ln>
        </p:spPr>
        <p:txBody>
          <a:bodyPr vert="horz" lIns="91440" tIns="432000" rIns="91440" bIns="72000" rtlCol="0" anchor="ctr">
            <a:norm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Somfy Sans Light" pitchFamily="2" charset="0"/>
                <a:ea typeface="+mj-ea"/>
                <a:cs typeface="+mj-cs"/>
              </a:defRPr>
            </a:lvl1pPr>
          </a:lstStyle>
          <a:p>
            <a:endParaRPr lang="en-GB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27DA399D-45B0-0CEA-A573-3E1B1AAC81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92098"/>
            <a:ext cx="4196444" cy="1263422"/>
          </a:xfrm>
        </p:spPr>
        <p:txBody>
          <a:bodyPr>
            <a:normAutofit/>
          </a:bodyPr>
          <a:lstStyle>
            <a:lvl1pPr>
              <a:defRPr sz="3600">
                <a:solidFill>
                  <a:srgbClr val="25485A"/>
                </a:solidFill>
              </a:defRPr>
            </a:lvl1pPr>
          </a:lstStyle>
          <a:p>
            <a:r>
              <a:rPr lang="fr-FR"/>
              <a:t>Sommai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50BA31B-3600-CA67-63C4-4112FC284698}"/>
              </a:ext>
            </a:extLst>
          </p:cNvPr>
          <p:cNvSpPr/>
          <p:nvPr userDrawn="1"/>
        </p:nvSpPr>
        <p:spPr>
          <a:xfrm>
            <a:off x="-182880" y="2463501"/>
            <a:ext cx="182880" cy="1813797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9630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2758" y="1505133"/>
            <a:ext cx="2932147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22758" y="3660655"/>
            <a:ext cx="2932147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ABB1A5C2-CE8F-141E-482F-9D579C3422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154905" y="-1"/>
            <a:ext cx="6063916" cy="6219825"/>
          </a:xfrm>
          <a:custGeom>
            <a:avLst/>
            <a:gdLst>
              <a:gd name="connsiteX0" fmla="*/ 0 w 6063916"/>
              <a:gd name="connsiteY0" fmla="*/ 0 h 6219825"/>
              <a:gd name="connsiteX1" fmla="*/ 6063916 w 6063916"/>
              <a:gd name="connsiteY1" fmla="*/ 0 h 6219825"/>
              <a:gd name="connsiteX2" fmla="*/ 6063916 w 6063916"/>
              <a:gd name="connsiteY2" fmla="*/ 3365046 h 6219825"/>
              <a:gd name="connsiteX3" fmla="*/ 3031958 w 6063916"/>
              <a:gd name="connsiteY3" fmla="*/ 6219825 h 6219825"/>
              <a:gd name="connsiteX4" fmla="*/ 0 w 6063916"/>
              <a:gd name="connsiteY4" fmla="*/ 3365046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3916" h="6219825">
                <a:moveTo>
                  <a:pt x="0" y="0"/>
                </a:moveTo>
                <a:lnTo>
                  <a:pt x="6063916" y="0"/>
                </a:lnTo>
                <a:lnTo>
                  <a:pt x="6063916" y="3365046"/>
                </a:lnTo>
                <a:cubicBezTo>
                  <a:pt x="6063916" y="4941697"/>
                  <a:pt x="4706462" y="6219825"/>
                  <a:pt x="3031958" y="6219825"/>
                </a:cubicBezTo>
                <a:cubicBezTo>
                  <a:pt x="1357455" y="6219825"/>
                  <a:pt x="0" y="4941697"/>
                  <a:pt x="0" y="336504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B7CDBDB-910C-F161-AAA0-EB82BD9D97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5153BCC4-EF22-07F2-585D-B56E33205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57840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2714" y="2010455"/>
            <a:ext cx="5169046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2714" y="3634626"/>
            <a:ext cx="516904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F8854EA6-C51F-C19D-9D42-B9D00327B0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1943099"/>
            <a:ext cx="5729288" cy="2971800"/>
          </a:xfrm>
          <a:custGeom>
            <a:avLst/>
            <a:gdLst>
              <a:gd name="connsiteX0" fmla="*/ 0 w 5729288"/>
              <a:gd name="connsiteY0" fmla="*/ 0 h 2971800"/>
              <a:gd name="connsiteX1" fmla="*/ 4243388 w 5729288"/>
              <a:gd name="connsiteY1" fmla="*/ 0 h 2971800"/>
              <a:gd name="connsiteX2" fmla="*/ 5729288 w 5729288"/>
              <a:gd name="connsiteY2" fmla="*/ 1485900 h 2971800"/>
              <a:gd name="connsiteX3" fmla="*/ 4243388 w 5729288"/>
              <a:gd name="connsiteY3" fmla="*/ 2971800 h 2971800"/>
              <a:gd name="connsiteX4" fmla="*/ 0 w 5729288"/>
              <a:gd name="connsiteY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9288" h="2971800">
                <a:moveTo>
                  <a:pt x="0" y="0"/>
                </a:moveTo>
                <a:lnTo>
                  <a:pt x="4243388" y="0"/>
                </a:lnTo>
                <a:cubicBezTo>
                  <a:pt x="5064028" y="0"/>
                  <a:pt x="5729288" y="665260"/>
                  <a:pt x="5729288" y="1485900"/>
                </a:cubicBezTo>
                <a:cubicBezTo>
                  <a:pt x="5729288" y="2306540"/>
                  <a:pt x="5064028" y="2971800"/>
                  <a:pt x="4243388" y="2971800"/>
                </a:cubicBezTo>
                <a:lnTo>
                  <a:pt x="0" y="2971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A267866C-7543-E78B-6E49-433BCE15F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1" name="Espace réservé du numéro de diapositive 5">
            <a:extLst>
              <a:ext uri="{FF2B5EF4-FFF2-40B4-BE49-F238E27FC236}">
                <a16:creationId xmlns:a16="http://schemas.microsoft.com/office/drawing/2014/main" id="{93B9BAF8-19DF-64CC-A9F5-0BBD1FD89C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03915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BF75147-10DA-B8A1-19F9-310B6ECB9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646124" y="1102178"/>
            <a:ext cx="1263421" cy="4653643"/>
          </a:xfrm>
          <a:ln w="28575"/>
        </p:spPr>
        <p:txBody>
          <a:bodyPr tIns="432000" bIns="72000">
            <a:normAutofit/>
          </a:bodyPr>
          <a:lstStyle>
            <a:lvl1pPr algn="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Sommai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F5F5F7-4512-0EAE-850B-9D6161A6B1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0504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B2AE38F-F49E-C383-72B5-D0C3131BD2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0506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2DA2207-92D1-2F1E-0DB4-3B5058CC4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5E3658B-BA18-6272-2723-8765DF75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805F7E82-A139-4B89-6C7C-7756D0B23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760504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75DC4D65-568E-DC72-2076-42A24F61108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60506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707FE6A4-37EF-0BD0-9998-E42E05682CB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60504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39634420-DBC5-783D-98EB-F0C686A02ED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760506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6052C59-09F0-F27A-7498-B5877E79D60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760504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EDB500C8-4390-11BF-1866-294EB2E89FD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760506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50839CB2-6DAF-F5EA-C2A8-ADF6E9940A7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60504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3BD630F1-5EB4-3E89-27CA-4215A42D341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760506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93DDC2B-E7BD-2BD1-5E2D-48CC2C42206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938601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D7BD70F-9B56-BD52-FF5A-32EFE537FE3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938603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61ED1ED-25F3-B195-2804-81029EDF30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938601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6F17A58-1D87-011B-7352-200252423D6D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938603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6022D409-A30C-44D1-A50E-662EEDCC1D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938601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3A757127-DB86-224E-69B5-8F6D24A320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38603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55FE3FF-7D2F-968F-D15A-BEAE9B99315D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38601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A7A846F7-4DC6-0DAB-A74E-3F427B38C89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8938603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ABC3DD3-5F8E-6DCD-D021-0AB3A1A3DFF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938601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DEE3AA2A-2D14-568F-5799-E9C0D1C0821E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938603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64212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/>
          <a:lstStyle>
            <a:lvl1pPr marL="15875" indent="0">
              <a:tabLst/>
              <a:defRPr b="1" i="0">
                <a:latin typeface="Somfy Sans" pitchFamily="2" charset="0"/>
              </a:defRPr>
            </a:lvl1pPr>
            <a:lvl2pPr marL="15875" indent="0">
              <a:buNone/>
              <a:tabLst/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85962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>
            <a:normAutofit/>
          </a:bodyPr>
          <a:lstStyle>
            <a:lvl1pPr>
              <a:defRPr sz="3200" b="1"/>
            </a:lvl1pPr>
            <a:lvl2pPr marL="0" indent="0">
              <a:buNone/>
              <a:tabLst/>
              <a:defRPr b="0"/>
            </a:lvl2pPr>
            <a:lvl3pPr marL="223838" indent="-131763">
              <a:tabLst/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5278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35169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1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B77150A-90C1-4B63-82F4-4959DD19A5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9275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2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5A299A93-8ADF-E1EF-DC65-A4E9755F92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0512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0723E3B-7658-64C0-B29A-43D70924C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32596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D7C4633-81A1-7563-532A-193FD896EC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1341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pter - Picture -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pour une image  23">
            <a:extLst>
              <a:ext uri="{FF2B5EF4-FFF2-40B4-BE49-F238E27FC236}">
                <a16:creationId xmlns:a16="http://schemas.microsoft.com/office/drawing/2014/main" id="{34385CDF-2C47-C486-D02D-7871C97EDC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5" name="Sous-titre 2">
            <a:extLst>
              <a:ext uri="{FF2B5EF4-FFF2-40B4-BE49-F238E27FC236}">
                <a16:creationId xmlns:a16="http://schemas.microsoft.com/office/drawing/2014/main" id="{8E1BF216-F2B8-070D-7B30-BA9C864B9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13541" y="3939426"/>
            <a:ext cx="4318489" cy="1367360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E92C6ACC-ECE3-BC92-9E91-A4B8D05D6E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13542" y="2315255"/>
            <a:ext cx="4318489" cy="1653430"/>
          </a:xfrm>
        </p:spPr>
        <p:txBody>
          <a:bodyPr anchor="b">
            <a:normAutofit/>
          </a:bodyPr>
          <a:lstStyle>
            <a:lvl1pPr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pPr lvl="0"/>
            <a:r>
              <a:rPr lang="fr-FR"/>
              <a:t>01 titre du chapitre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AD0A4EB0-799A-4E7A-050B-C9A4C60A38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48826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D31E579B-CA79-0E59-E871-3FEA98143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BA999C-DC4E-AFE5-109E-78D174E34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37AC010-C91C-EAD8-4914-1CB6A4D85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7CFACC1-CD51-EC38-B4C6-A2386A077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95624" y="1381125"/>
            <a:ext cx="6000750" cy="4095750"/>
          </a:xfrm>
          <a:prstGeom prst="roundRect">
            <a:avLst>
              <a:gd name="adj" fmla="val 12016"/>
            </a:avLst>
          </a:prstGeom>
          <a:solidFill>
            <a:schemeClr val="accent1"/>
          </a:solidFill>
        </p:spPr>
        <p:txBody>
          <a:bodyPr lIns="468000" tIns="324000" rIns="468000" bIns="468000">
            <a:normAutofit/>
          </a:bodyPr>
          <a:lstStyle>
            <a:lvl1pPr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1800" b="0">
                <a:solidFill>
                  <a:schemeClr val="accent2"/>
                </a:solidFill>
              </a:defRPr>
            </a:lvl2pPr>
            <a:lvl3pPr>
              <a:defRPr sz="1600" b="0">
                <a:solidFill>
                  <a:schemeClr val="accent2"/>
                </a:solidFill>
              </a:defRPr>
            </a:lvl3pPr>
            <a:lvl4pPr>
              <a:defRPr sz="1400" b="0">
                <a:solidFill>
                  <a:schemeClr val="accent2"/>
                </a:solidFill>
              </a:defRPr>
            </a:lvl4pPr>
            <a:lvl5pPr>
              <a:defRPr sz="14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C4CAA0-969E-2D46-7D12-8B86F436EA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3138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83F28675-C92D-81C6-4262-C29A0BA0304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07981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4AB7EF7-AD08-88C8-1B9E-719F81EF3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961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717D1F2-D833-4BD2-FBD6-010787685B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6804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pour une image  12">
            <a:extLst>
              <a:ext uri="{FF2B5EF4-FFF2-40B4-BE49-F238E27FC236}">
                <a16:creationId xmlns:a16="http://schemas.microsoft.com/office/drawing/2014/main" id="{1DDB1634-5A81-65E5-1962-8139E566AA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506324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F00006B8-DCDC-66B0-C8B4-7C91E4056D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5147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6C1E037D-44D2-A94C-5E51-6A66AEA09C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6519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10833845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734317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79E6FC-3678-C11A-FAC4-EAD29BC33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16D766B-81F8-5737-847B-CE76F555B5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DE9B4A1-E7F2-06B9-FCBC-5D3596DCB8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88F32B6-9DF0-5E8F-C58F-CCB32A4AC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1EF4617-50F8-2370-9B4A-BA9136DCA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46337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A5B8A7D-D6FC-7CC2-7156-A2DC8723F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111AE8-D56F-310E-89DB-21D874755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253C80-252C-394C-372C-6EC46004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095463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2318D-BB55-4C30-9F3F-E81B7D2D3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FE79B0-A8B4-4BE6-BA7D-FB77F6B07B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23EDCB-A83A-43B6-BB37-4C0034BE58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A385715C-21E6-408D-B9B3-9DEFC534C3D5}"/>
              </a:ext>
            </a:extLst>
          </p:cNvPr>
          <p:cNvSpPr txBox="1">
            <a:spLocks/>
          </p:cNvSpPr>
          <p:nvPr userDrawn="1"/>
        </p:nvSpPr>
        <p:spPr>
          <a:xfrm rot="16200000" flipH="1">
            <a:off x="4323721" y="-1556329"/>
            <a:ext cx="2245088" cy="1096873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/>
          </a:solidFill>
          <a:ln w="12700">
            <a:noFill/>
          </a:ln>
        </p:spPr>
        <p:txBody>
          <a:bodyPr vert="vert270" lIns="91440" tIns="45720" rIns="91440" bIns="57600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4684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2318D-BB55-4C30-9F3F-E81B7D2D3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FE79B0-A8B4-4BE6-BA7D-FB77F6B07B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23EDCB-A83A-43B6-BB37-4C0034BE58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A385715C-21E6-408D-B9B3-9DEFC534C3D5}"/>
              </a:ext>
            </a:extLst>
          </p:cNvPr>
          <p:cNvSpPr txBox="1">
            <a:spLocks/>
          </p:cNvSpPr>
          <p:nvPr userDrawn="1"/>
        </p:nvSpPr>
        <p:spPr>
          <a:xfrm rot="5400000">
            <a:off x="5616997" y="-1556329"/>
            <a:ext cx="2245088" cy="1096873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/>
          </a:solidFill>
          <a:ln w="12700">
            <a:noFill/>
          </a:ln>
        </p:spPr>
        <p:txBody>
          <a:bodyPr vert="vert270" lIns="91440" tIns="45720" rIns="91440" bIns="57600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823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re seu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65A855C-7B5F-B724-2CFF-9DAE4618E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2230" y="5907606"/>
            <a:ext cx="1167540" cy="305474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D7A9C26E-9B63-CA17-BC4B-0C1A07859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9224" y="2959490"/>
            <a:ext cx="2653552" cy="939020"/>
          </a:xfrm>
          <a:prstGeom prst="round2SameRect">
            <a:avLst>
              <a:gd name="adj1" fmla="val 50000"/>
              <a:gd name="adj2" fmla="val 50000"/>
            </a:avLst>
          </a:prstGeom>
          <a:ln w="28575"/>
        </p:spPr>
        <p:txBody>
          <a:bodyPr vert="horz" tIns="72000" bIns="72000">
            <a:normAutofit/>
          </a:bodyPr>
          <a:lstStyle>
            <a:lvl1pPr algn="ct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Merci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629477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06838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Une image contenant dessin&#10;&#10;Description générée automatiquement">
            <a:extLst>
              <a:ext uri="{FF2B5EF4-FFF2-40B4-BE49-F238E27FC236}">
                <a16:creationId xmlns:a16="http://schemas.microsoft.com/office/drawing/2014/main" id="{DD459A1F-D918-964D-A3BD-F7C2C516A1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75632"/>
            <a:ext cx="1073820" cy="375648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1024C451-6E79-5244-B00D-81BE5A10DC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endParaRPr lang="fr-FR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C004205-B1EA-384E-979B-2FD40D4D0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3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02C962-26B5-D149-9D70-F691507E255A}"/>
              </a:ext>
            </a:extLst>
          </p:cNvPr>
          <p:cNvSpPr txBox="1"/>
          <p:nvPr userDrawn="1"/>
        </p:nvSpPr>
        <p:spPr>
          <a:xfrm>
            <a:off x="533400" y="6440780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0" i="0">
                <a:solidFill>
                  <a:srgbClr val="FFC000"/>
                </a:solidFill>
                <a:latin typeface="Somfy Sans" pitchFamily="2" charset="0"/>
              </a:rPr>
              <a:t>I</a:t>
            </a: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id="{11D51AE7-5366-3643-9BEE-452617286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omfy Sans" pitchFamily="2" charset="0"/>
              </a:defRPr>
            </a:lvl1pPr>
          </a:lstStyle>
          <a:p>
            <a:r>
              <a:rPr lang="fr-FR" err="1"/>
              <a:t>Title</a:t>
            </a:r>
            <a:endParaRPr lang="fr-FR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6FD5D06D-88CA-D342-8CAC-27ADB35435D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0" i="0">
                <a:solidFill>
                  <a:srgbClr val="FFC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343749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 - Lef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331763" y="1635569"/>
            <a:ext cx="5903912" cy="4073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0" i="0"/>
            </a:lvl1pPr>
          </a:lstStyle>
          <a:p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7320136" y="2241096"/>
            <a:ext cx="4189418" cy="30777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lang="en-US" sz="1400" b="0" i="0" smtClean="0">
                <a:solidFill>
                  <a:schemeClr val="tx1"/>
                </a:solidFill>
                <a:latin typeface="Somfy Sans Light" pitchFamily="2" charset="0"/>
                <a:ea typeface="+mn-ea"/>
                <a:cs typeface="+mn-cs"/>
              </a:defRPr>
            </a:lvl1pPr>
            <a:lvl2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algn="just">
              <a:spcBef>
                <a:spcPts val="1200"/>
              </a:spcBef>
            </a:pPr>
            <a:r>
              <a:rPr lang="en-US"/>
              <a:t>Your description her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320136" y="1631933"/>
            <a:ext cx="4189417" cy="523220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 marL="0" indent="0">
              <a:buNone/>
              <a:defRPr lang="en-US" sz="2800" b="0" i="0">
                <a:solidFill>
                  <a:schemeClr val="tx2"/>
                </a:solidFill>
                <a:latin typeface="Somfy Sans" pitchFamily="2" charset="0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Your title here</a:t>
            </a:r>
          </a:p>
        </p:txBody>
      </p:sp>
      <p:pic>
        <p:nvPicPr>
          <p:cNvPr id="15" name="Image 14" descr="Une image contenant dessin&#10;&#10;Description générée automatiquement">
            <a:extLst>
              <a:ext uri="{FF2B5EF4-FFF2-40B4-BE49-F238E27FC236}">
                <a16:creationId xmlns:a16="http://schemas.microsoft.com/office/drawing/2014/main" id="{285CCC1D-1982-274D-BB12-55F2BF3403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75632"/>
            <a:ext cx="1073820" cy="375648"/>
          </a:xfrm>
          <a:prstGeom prst="rect">
            <a:avLst/>
          </a:prstGeom>
        </p:spPr>
      </p:pic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62626741-9D1E-3E4D-8417-9E6B48031A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endParaRPr lang="fr-FR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EAB78EB9-7E9A-2241-B5FA-F96DFEEA45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3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442F3494-024F-E54F-AC81-CD9D613EF1E2}"/>
              </a:ext>
            </a:extLst>
          </p:cNvPr>
          <p:cNvSpPr txBox="1"/>
          <p:nvPr userDrawn="1"/>
        </p:nvSpPr>
        <p:spPr>
          <a:xfrm>
            <a:off x="533400" y="6440780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0" i="0">
                <a:solidFill>
                  <a:srgbClr val="FFC000"/>
                </a:solidFill>
                <a:latin typeface="Somfy Sans" pitchFamily="2" charset="0"/>
              </a:rPr>
              <a:t>I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407174D8-6145-2C4E-B5F7-77AF252CB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omfy Sans" pitchFamily="2" charset="0"/>
              </a:defRPr>
            </a:lvl1pPr>
          </a:lstStyle>
          <a:p>
            <a:r>
              <a:rPr lang="fr-FR" err="1"/>
              <a:t>Title</a:t>
            </a:r>
            <a:endParaRPr lang="fr-FR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BDA64B4C-C1DB-C94D-A98F-3936F7A8B93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0" i="0">
                <a:solidFill>
                  <a:srgbClr val="FFC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612933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pter - Picture -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2714" y="2010455"/>
            <a:ext cx="5169046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2714" y="3634626"/>
            <a:ext cx="516904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F8854EA6-C51F-C19D-9D42-B9D00327B0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1943099"/>
            <a:ext cx="5729288" cy="2971800"/>
          </a:xfrm>
          <a:custGeom>
            <a:avLst/>
            <a:gdLst>
              <a:gd name="connsiteX0" fmla="*/ 0 w 5729288"/>
              <a:gd name="connsiteY0" fmla="*/ 0 h 2971800"/>
              <a:gd name="connsiteX1" fmla="*/ 4243388 w 5729288"/>
              <a:gd name="connsiteY1" fmla="*/ 0 h 2971800"/>
              <a:gd name="connsiteX2" fmla="*/ 5729288 w 5729288"/>
              <a:gd name="connsiteY2" fmla="*/ 1485900 h 2971800"/>
              <a:gd name="connsiteX3" fmla="*/ 4243388 w 5729288"/>
              <a:gd name="connsiteY3" fmla="*/ 2971800 h 2971800"/>
              <a:gd name="connsiteX4" fmla="*/ 0 w 5729288"/>
              <a:gd name="connsiteY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9288" h="2971800">
                <a:moveTo>
                  <a:pt x="0" y="0"/>
                </a:moveTo>
                <a:lnTo>
                  <a:pt x="4243388" y="0"/>
                </a:lnTo>
                <a:cubicBezTo>
                  <a:pt x="5064028" y="0"/>
                  <a:pt x="5729288" y="665260"/>
                  <a:pt x="5729288" y="1485900"/>
                </a:cubicBezTo>
                <a:cubicBezTo>
                  <a:pt x="5729288" y="2306540"/>
                  <a:pt x="5064028" y="2971800"/>
                  <a:pt x="4243388" y="2971800"/>
                </a:cubicBezTo>
                <a:lnTo>
                  <a:pt x="0" y="2971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A267866C-7543-E78B-6E49-433BCE15F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524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FF28C8E5-56A6-2BC8-0A20-FBF9A15386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9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393057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DE369-B809-0CBB-5B60-A7547B08F3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lnSpc>
                <a:spcPct val="90000"/>
              </a:lnSpc>
              <a:defRPr sz="44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AAD364A-47A1-CDD7-1577-68A6D68569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688016"/>
            <a:ext cx="9144000" cy="780456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F5A8C2-FA21-B5B7-3F72-D7BFB7E4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8738" y="5787025"/>
            <a:ext cx="1714522" cy="548461"/>
          </a:xfrm>
          <a:prstGeom prst="roundRect">
            <a:avLst>
              <a:gd name="adj" fmla="val 50000"/>
            </a:avLst>
          </a:prstGeom>
          <a:ln w="19050">
            <a:solidFill>
              <a:schemeClr val="accent2"/>
            </a:solidFill>
          </a:ln>
        </p:spPr>
        <p:txBody>
          <a:bodyPr anchor="ctr"/>
          <a:lstStyle>
            <a:lvl1pPr algn="ctr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CD4729C-2FE4-A0AD-5186-E74DC4E695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2434" y="730152"/>
            <a:ext cx="1147131" cy="30013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765406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394" y="2315255"/>
            <a:ext cx="2911236" cy="222749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l">
              <a:defRPr sz="28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FE53A088-C685-698B-9C8F-EB253F9EA6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3073" y="0"/>
            <a:ext cx="9548927" cy="6858000"/>
          </a:xfrm>
          <a:custGeom>
            <a:avLst/>
            <a:gdLst>
              <a:gd name="connsiteX0" fmla="*/ 0 w 9548927"/>
              <a:gd name="connsiteY0" fmla="*/ 0 h 6858000"/>
              <a:gd name="connsiteX1" fmla="*/ 9548927 w 9548927"/>
              <a:gd name="connsiteY1" fmla="*/ 0 h 6858000"/>
              <a:gd name="connsiteX2" fmla="*/ 9548927 w 9548927"/>
              <a:gd name="connsiteY2" fmla="*/ 6858000 h 6858000"/>
              <a:gd name="connsiteX3" fmla="*/ 0 w 9548927"/>
              <a:gd name="connsiteY3" fmla="*/ 6858000 h 6858000"/>
              <a:gd name="connsiteX4" fmla="*/ 79067 w 9548927"/>
              <a:gd name="connsiteY4" fmla="*/ 6786139 h 6858000"/>
              <a:gd name="connsiteX5" fmla="*/ 938327 w 9548927"/>
              <a:gd name="connsiteY5" fmla="*/ 4711700 h 6858000"/>
              <a:gd name="connsiteX6" fmla="*/ 938327 w 9548927"/>
              <a:gd name="connsiteY6" fmla="*/ 2146300 h 6858000"/>
              <a:gd name="connsiteX7" fmla="*/ 79067 w 9548927"/>
              <a:gd name="connsiteY7" fmla="*/ 718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8927" h="6858000">
                <a:moveTo>
                  <a:pt x="0" y="0"/>
                </a:moveTo>
                <a:lnTo>
                  <a:pt x="9548927" y="0"/>
                </a:lnTo>
                <a:lnTo>
                  <a:pt x="9548927" y="6858000"/>
                </a:lnTo>
                <a:lnTo>
                  <a:pt x="0" y="6858000"/>
                </a:lnTo>
                <a:lnTo>
                  <a:pt x="79067" y="6786139"/>
                </a:lnTo>
                <a:cubicBezTo>
                  <a:pt x="609962" y="6255244"/>
                  <a:pt x="938327" y="5521819"/>
                  <a:pt x="938327" y="4711700"/>
                </a:cubicBezTo>
                <a:lnTo>
                  <a:pt x="938327" y="2146300"/>
                </a:lnTo>
                <a:cubicBezTo>
                  <a:pt x="938327" y="1336181"/>
                  <a:pt x="609962" y="602756"/>
                  <a:pt x="79067" y="7186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5A0458B-D994-457A-ACFB-C349E4723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68" y="731305"/>
            <a:ext cx="1147131" cy="300136"/>
          </a:xfrm>
          <a:prstGeom prst="rect">
            <a:avLst/>
          </a:prstGeom>
        </p:spPr>
      </p:pic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E1EF8DF-996F-8F9B-00FD-8AF399F4D5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393" y="5787025"/>
            <a:ext cx="1714522" cy="54846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l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194256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1" y="2315255"/>
            <a:ext cx="3213287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24" name="Espace réservé pour une image  23">
            <a:extLst>
              <a:ext uri="{FF2B5EF4-FFF2-40B4-BE49-F238E27FC236}">
                <a16:creationId xmlns:a16="http://schemas.microsoft.com/office/drawing/2014/main" id="{34385CDF-2C47-C486-D02D-7871C97EDC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25" name="Sous-titre 2">
            <a:extLst>
              <a:ext uri="{FF2B5EF4-FFF2-40B4-BE49-F238E27FC236}">
                <a16:creationId xmlns:a16="http://schemas.microsoft.com/office/drawing/2014/main" id="{8E1BF216-F2B8-070D-7B30-BA9C864B9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879A9E24-52DC-AD25-9A3C-D1A983D6C8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7" name="Espace réservé du numéro de diapositive 5">
            <a:extLst>
              <a:ext uri="{FF2B5EF4-FFF2-40B4-BE49-F238E27FC236}">
                <a16:creationId xmlns:a16="http://schemas.microsoft.com/office/drawing/2014/main" id="{96083338-D259-6F17-D03F-915609FDCA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091129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169" y="1336431"/>
            <a:ext cx="11359661" cy="4185138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defRPr sz="23000" b="1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r>
              <a:rPr lang="fr-FR"/>
              <a:t>Chapitre</a:t>
            </a:r>
            <a:endParaRPr lang="en-GB"/>
          </a:p>
        </p:txBody>
      </p:sp>
      <p:sp>
        <p:nvSpPr>
          <p:cNvPr id="12" name="Sous-titre 2">
            <a:extLst>
              <a:ext uri="{FF2B5EF4-FFF2-40B4-BE49-F238E27FC236}">
                <a16:creationId xmlns:a16="http://schemas.microsoft.com/office/drawing/2014/main" id="{CF69F196-5ED5-D392-C81B-C0A0A0469E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13718" y="536820"/>
            <a:ext cx="2502877" cy="1343163"/>
          </a:xfrm>
        </p:spPr>
        <p:txBody>
          <a:bodyPr anchor="ctr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66102D1-AA91-8F4F-D7A4-4AD9A0E9D6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12628" y="3780692"/>
            <a:ext cx="4865199" cy="3077308"/>
          </a:xfrm>
        </p:spPr>
        <p:txBody>
          <a:bodyPr anchor="b">
            <a:noAutofit/>
          </a:bodyPr>
          <a:lstStyle>
            <a:lvl1pPr algn="r">
              <a:defRPr sz="24000" b="1" i="0">
                <a:ln>
                  <a:solidFill>
                    <a:schemeClr val="bg1"/>
                  </a:solidFill>
                </a:ln>
                <a:noFill/>
                <a:latin typeface="Somfy Sans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01</a:t>
            </a:r>
            <a:endParaRPr lang="en-GB"/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830B4683-EC15-CEE9-D169-97CBF46A5E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25530AAE-B0DC-0415-EC10-0FD05B47BA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932327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2" y="2315255"/>
            <a:ext cx="321328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0" name="Forme libre 9">
            <a:extLst>
              <a:ext uri="{FF2B5EF4-FFF2-40B4-BE49-F238E27FC236}">
                <a16:creationId xmlns:a16="http://schemas.microsoft.com/office/drawing/2014/main" id="{BCFDDDBD-A5EF-27E9-0158-06EF3714BFA4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185F905-2A46-DA18-0D72-0DAE780035B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221F716-E76D-A397-DFED-B644677D8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6603D368-D5F7-C70B-7A53-B9D82579A0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348051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184" y="3428999"/>
            <a:ext cx="7792416" cy="961059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184" y="4390059"/>
            <a:ext cx="779241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2" name="Forme libre 21">
            <a:extLst>
              <a:ext uri="{FF2B5EF4-FFF2-40B4-BE49-F238E27FC236}">
                <a16:creationId xmlns:a16="http://schemas.microsoft.com/office/drawing/2014/main" id="{A1D1098E-4556-0B2C-FAB3-29E4B5984BE0}"/>
              </a:ext>
            </a:extLst>
          </p:cNvPr>
          <p:cNvSpPr/>
          <p:nvPr userDrawn="1"/>
        </p:nvSpPr>
        <p:spPr>
          <a:xfrm rot="5400000">
            <a:off x="4381500" y="-4381500"/>
            <a:ext cx="3429000" cy="12192000"/>
          </a:xfrm>
          <a:custGeom>
            <a:avLst/>
            <a:gdLst>
              <a:gd name="connsiteX0" fmla="*/ 0 w 3429000"/>
              <a:gd name="connsiteY0" fmla="*/ 12192000 h 12192000"/>
              <a:gd name="connsiteX1" fmla="*/ 0 w 3429000"/>
              <a:gd name="connsiteY1" fmla="*/ 0 h 12192000"/>
              <a:gd name="connsiteX2" fmla="*/ 2557464 w 3429000"/>
              <a:gd name="connsiteY2" fmla="*/ 0 h 12192000"/>
              <a:gd name="connsiteX3" fmla="*/ 2667124 w 3429000"/>
              <a:gd name="connsiteY3" fmla="*/ 144828 h 12192000"/>
              <a:gd name="connsiteX4" fmla="*/ 3429000 w 3429000"/>
              <a:gd name="connsiteY4" fmla="*/ 2586181 h 12192000"/>
              <a:gd name="connsiteX5" fmla="*/ 3429000 w 3429000"/>
              <a:gd name="connsiteY5" fmla="*/ 9605822 h 12192000"/>
              <a:gd name="connsiteX6" fmla="*/ 2667124 w 3429000"/>
              <a:gd name="connsiteY6" fmla="*/ 12047174 h 12192000"/>
              <a:gd name="connsiteX7" fmla="*/ 2557465 w 3429000"/>
              <a:gd name="connsiteY7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0" h="12192000">
                <a:moveTo>
                  <a:pt x="0" y="12192000"/>
                </a:moveTo>
                <a:lnTo>
                  <a:pt x="0" y="0"/>
                </a:lnTo>
                <a:lnTo>
                  <a:pt x="2557464" y="0"/>
                </a:lnTo>
                <a:lnTo>
                  <a:pt x="2667124" y="144828"/>
                </a:lnTo>
                <a:cubicBezTo>
                  <a:pt x="3147512" y="837808"/>
                  <a:pt x="3429000" y="1679122"/>
                  <a:pt x="3429000" y="2586181"/>
                </a:cubicBezTo>
                <a:lnTo>
                  <a:pt x="3429000" y="9605822"/>
                </a:lnTo>
                <a:cubicBezTo>
                  <a:pt x="3429000" y="10512881"/>
                  <a:pt x="3147512" y="11354195"/>
                  <a:pt x="2667124" y="12047174"/>
                </a:cubicBezTo>
                <a:lnTo>
                  <a:pt x="2557465" y="1219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F5DB1B5-C789-AE52-661D-C028493A9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4" name="Espace réservé du numéro de diapositive 5">
            <a:extLst>
              <a:ext uri="{FF2B5EF4-FFF2-40B4-BE49-F238E27FC236}">
                <a16:creationId xmlns:a16="http://schemas.microsoft.com/office/drawing/2014/main" id="{8D7B533B-06A9-718B-E938-0FDFA1F88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0647231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 : avec coins arrondis en haut 4">
            <a:extLst>
              <a:ext uri="{FF2B5EF4-FFF2-40B4-BE49-F238E27FC236}">
                <a16:creationId xmlns:a16="http://schemas.microsoft.com/office/drawing/2014/main" id="{E3F4E120-F862-27AD-D4DE-61FB32408D6E}"/>
              </a:ext>
            </a:extLst>
          </p:cNvPr>
          <p:cNvSpPr/>
          <p:nvPr userDrawn="1"/>
        </p:nvSpPr>
        <p:spPr>
          <a:xfrm>
            <a:off x="1574800" y="0"/>
            <a:ext cx="4140200" cy="4267200"/>
          </a:xfrm>
          <a:prstGeom prst="round2SameRect">
            <a:avLst>
              <a:gd name="adj1" fmla="val 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3142" y="650241"/>
            <a:ext cx="303185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83142" y="2805762"/>
            <a:ext cx="2539098" cy="1181591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767A10A-4DE5-7D58-39A6-743B0623F2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C7B0491C-31AA-33A2-9559-2AF726BB5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581A5DD-1E78-5925-08DC-492D51A07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8056964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 : avec coins arrondis en haut 5">
            <a:extLst>
              <a:ext uri="{FF2B5EF4-FFF2-40B4-BE49-F238E27FC236}">
                <a16:creationId xmlns:a16="http://schemas.microsoft.com/office/drawing/2014/main" id="{27CAEBC4-144B-E241-7C2F-ED9196235B61}"/>
              </a:ext>
            </a:extLst>
          </p:cNvPr>
          <p:cNvSpPr/>
          <p:nvPr userDrawn="1"/>
        </p:nvSpPr>
        <p:spPr>
          <a:xfrm rot="5400000">
            <a:off x="6070600" y="-645160"/>
            <a:ext cx="4094480" cy="8148320"/>
          </a:xfrm>
          <a:prstGeom prst="round2SameRect">
            <a:avLst>
              <a:gd name="adj1" fmla="val 0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8822" y="2010455"/>
            <a:ext cx="668293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8822" y="3634626"/>
            <a:ext cx="668293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BE70A30-AC3D-C21B-D5A3-E3AF81F0EE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A418C663-5C06-BAA8-1ED3-F459AAE51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77E13569-47F7-A9EB-6548-583015548F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836070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874" y="3637281"/>
            <a:ext cx="339253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5874" y="5792803"/>
            <a:ext cx="3392538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F30702F7-5443-FCAB-0F0C-889A80B7BA6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86400" y="1625600"/>
            <a:ext cx="4803140" cy="5232400"/>
          </a:xfrm>
          <a:custGeom>
            <a:avLst/>
            <a:gdLst>
              <a:gd name="connsiteX0" fmla="*/ 2401570 w 4803140"/>
              <a:gd name="connsiteY0" fmla="*/ 0 h 5232400"/>
              <a:gd name="connsiteX1" fmla="*/ 4803140 w 4803140"/>
              <a:gd name="connsiteY1" fmla="*/ 2401570 h 5232400"/>
              <a:gd name="connsiteX2" fmla="*/ 4803140 w 4803140"/>
              <a:gd name="connsiteY2" fmla="*/ 5232400 h 5232400"/>
              <a:gd name="connsiteX3" fmla="*/ 0 w 4803140"/>
              <a:gd name="connsiteY3" fmla="*/ 5232400 h 5232400"/>
              <a:gd name="connsiteX4" fmla="*/ 0 w 4803140"/>
              <a:gd name="connsiteY4" fmla="*/ 2401570 h 5232400"/>
              <a:gd name="connsiteX5" fmla="*/ 2401570 w 4803140"/>
              <a:gd name="connsiteY5" fmla="*/ 0 h 52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03140" h="5232400">
                <a:moveTo>
                  <a:pt x="2401570" y="0"/>
                </a:moveTo>
                <a:cubicBezTo>
                  <a:pt x="3727920" y="0"/>
                  <a:pt x="4803140" y="1075220"/>
                  <a:pt x="4803140" y="2401570"/>
                </a:cubicBezTo>
                <a:lnTo>
                  <a:pt x="4803140" y="5232400"/>
                </a:lnTo>
                <a:lnTo>
                  <a:pt x="0" y="5232400"/>
                </a:lnTo>
                <a:lnTo>
                  <a:pt x="0" y="2401570"/>
                </a:lnTo>
                <a:cubicBezTo>
                  <a:pt x="0" y="1075220"/>
                  <a:pt x="1075220" y="0"/>
                  <a:pt x="24015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DC7CBAEF-A3CC-0809-62A7-999C8D0C1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46B59288-641E-BB0F-2D37-B1F487747B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45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2758" y="1505133"/>
            <a:ext cx="2932147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22758" y="3660655"/>
            <a:ext cx="2932147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ABB1A5C2-CE8F-141E-482F-9D579C3422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154905" y="-1"/>
            <a:ext cx="6063916" cy="6219825"/>
          </a:xfrm>
          <a:custGeom>
            <a:avLst/>
            <a:gdLst>
              <a:gd name="connsiteX0" fmla="*/ 0 w 6063916"/>
              <a:gd name="connsiteY0" fmla="*/ 0 h 6219825"/>
              <a:gd name="connsiteX1" fmla="*/ 6063916 w 6063916"/>
              <a:gd name="connsiteY1" fmla="*/ 0 h 6219825"/>
              <a:gd name="connsiteX2" fmla="*/ 6063916 w 6063916"/>
              <a:gd name="connsiteY2" fmla="*/ 3365046 h 6219825"/>
              <a:gd name="connsiteX3" fmla="*/ 3031958 w 6063916"/>
              <a:gd name="connsiteY3" fmla="*/ 6219825 h 6219825"/>
              <a:gd name="connsiteX4" fmla="*/ 0 w 6063916"/>
              <a:gd name="connsiteY4" fmla="*/ 3365046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3916" h="6219825">
                <a:moveTo>
                  <a:pt x="0" y="0"/>
                </a:moveTo>
                <a:lnTo>
                  <a:pt x="6063916" y="0"/>
                </a:lnTo>
                <a:lnTo>
                  <a:pt x="6063916" y="3365046"/>
                </a:lnTo>
                <a:cubicBezTo>
                  <a:pt x="6063916" y="4941697"/>
                  <a:pt x="4706462" y="6219825"/>
                  <a:pt x="3031958" y="6219825"/>
                </a:cubicBezTo>
                <a:cubicBezTo>
                  <a:pt x="1357455" y="6219825"/>
                  <a:pt x="0" y="4941697"/>
                  <a:pt x="0" y="336504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B7CDBDB-910C-F161-AAA0-EB82BD9D97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5153BCC4-EF22-07F2-585D-B56E33205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34332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pter - Picture - Option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ABB1A5C2-CE8F-141E-482F-9D579C3422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43600" y="0"/>
            <a:ext cx="5267547" cy="6145178"/>
          </a:xfrm>
          <a:custGeom>
            <a:avLst/>
            <a:gdLst>
              <a:gd name="connsiteX0" fmla="*/ 0 w 6063916"/>
              <a:gd name="connsiteY0" fmla="*/ 0 h 6219825"/>
              <a:gd name="connsiteX1" fmla="*/ 6063916 w 6063916"/>
              <a:gd name="connsiteY1" fmla="*/ 0 h 6219825"/>
              <a:gd name="connsiteX2" fmla="*/ 6063916 w 6063916"/>
              <a:gd name="connsiteY2" fmla="*/ 3365046 h 6219825"/>
              <a:gd name="connsiteX3" fmla="*/ 3031958 w 6063916"/>
              <a:gd name="connsiteY3" fmla="*/ 6219825 h 6219825"/>
              <a:gd name="connsiteX4" fmla="*/ 0 w 6063916"/>
              <a:gd name="connsiteY4" fmla="*/ 3365046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3916" h="6219825">
                <a:moveTo>
                  <a:pt x="0" y="0"/>
                </a:moveTo>
                <a:lnTo>
                  <a:pt x="6063916" y="0"/>
                </a:lnTo>
                <a:lnTo>
                  <a:pt x="6063916" y="3365046"/>
                </a:lnTo>
                <a:cubicBezTo>
                  <a:pt x="6063916" y="4941697"/>
                  <a:pt x="4706462" y="6219825"/>
                  <a:pt x="3031958" y="6219825"/>
                </a:cubicBezTo>
                <a:cubicBezTo>
                  <a:pt x="1357455" y="6219825"/>
                  <a:pt x="0" y="4941697"/>
                  <a:pt x="0" y="336504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B7CDBDB-910C-F161-AAA0-EB82BD9D97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5153BCC4-EF22-07F2-585D-B56E33205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4800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8D9820A8-328A-6189-8EDD-CE60516090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9987" y="1505133"/>
            <a:ext cx="456705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6" name="Sous-titre 2">
            <a:extLst>
              <a:ext uri="{FF2B5EF4-FFF2-40B4-BE49-F238E27FC236}">
                <a16:creationId xmlns:a16="http://schemas.microsoft.com/office/drawing/2014/main" id="{93198A0B-FC30-5C11-2D1A-22B4CB7057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59988" y="3660655"/>
            <a:ext cx="4567058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34352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2714" y="2010455"/>
            <a:ext cx="5169046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2714" y="3634626"/>
            <a:ext cx="516904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F8854EA6-C51F-C19D-9D42-B9D00327B0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1943099"/>
            <a:ext cx="5729288" cy="2971800"/>
          </a:xfrm>
          <a:custGeom>
            <a:avLst/>
            <a:gdLst>
              <a:gd name="connsiteX0" fmla="*/ 0 w 5729288"/>
              <a:gd name="connsiteY0" fmla="*/ 0 h 2971800"/>
              <a:gd name="connsiteX1" fmla="*/ 4243388 w 5729288"/>
              <a:gd name="connsiteY1" fmla="*/ 0 h 2971800"/>
              <a:gd name="connsiteX2" fmla="*/ 5729288 w 5729288"/>
              <a:gd name="connsiteY2" fmla="*/ 1485900 h 2971800"/>
              <a:gd name="connsiteX3" fmla="*/ 4243388 w 5729288"/>
              <a:gd name="connsiteY3" fmla="*/ 2971800 h 2971800"/>
              <a:gd name="connsiteX4" fmla="*/ 0 w 5729288"/>
              <a:gd name="connsiteY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9288" h="2971800">
                <a:moveTo>
                  <a:pt x="0" y="0"/>
                </a:moveTo>
                <a:lnTo>
                  <a:pt x="4243388" y="0"/>
                </a:lnTo>
                <a:cubicBezTo>
                  <a:pt x="5064028" y="0"/>
                  <a:pt x="5729288" y="665260"/>
                  <a:pt x="5729288" y="1485900"/>
                </a:cubicBezTo>
                <a:cubicBezTo>
                  <a:pt x="5729288" y="2306540"/>
                  <a:pt x="5064028" y="2971800"/>
                  <a:pt x="4243388" y="2971800"/>
                </a:cubicBezTo>
                <a:lnTo>
                  <a:pt x="0" y="2971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A267866C-7543-E78B-6E49-433BCE15F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1" name="Espace réservé du numéro de diapositive 5">
            <a:extLst>
              <a:ext uri="{FF2B5EF4-FFF2-40B4-BE49-F238E27FC236}">
                <a16:creationId xmlns:a16="http://schemas.microsoft.com/office/drawing/2014/main" id="{93B9BAF8-19DF-64CC-A9F5-0BBD1FD89C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08986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BF75147-10DA-B8A1-19F9-310B6ECB9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646124" y="1102178"/>
            <a:ext cx="1263421" cy="4653643"/>
          </a:xfrm>
          <a:ln w="28575"/>
        </p:spPr>
        <p:txBody>
          <a:bodyPr tIns="432000" bIns="72000">
            <a:normAutofit/>
          </a:bodyPr>
          <a:lstStyle>
            <a:lvl1pPr algn="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Sommai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F5F5F7-4512-0EAE-850B-9D6161A6B1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0504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B2AE38F-F49E-C383-72B5-D0C3131BD2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0506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2DA2207-92D1-2F1E-0DB4-3B5058CC4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5E3658B-BA18-6272-2723-8765DF75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805F7E82-A139-4B89-6C7C-7756D0B23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760504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75DC4D65-568E-DC72-2076-42A24F61108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60506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707FE6A4-37EF-0BD0-9998-E42E05682CB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60504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39634420-DBC5-783D-98EB-F0C686A02ED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760506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6052C59-09F0-F27A-7498-B5877E79D60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760504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EDB500C8-4390-11BF-1866-294EB2E89FD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760506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50839CB2-6DAF-F5EA-C2A8-ADF6E9940A7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60504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3BD630F1-5EB4-3E89-27CA-4215A42D341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760506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93DDC2B-E7BD-2BD1-5E2D-48CC2C42206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938601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D7BD70F-9B56-BD52-FF5A-32EFE537FE3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938603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61ED1ED-25F3-B195-2804-81029EDF30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938601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6F17A58-1D87-011B-7352-200252423D6D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938603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6022D409-A30C-44D1-A50E-662EEDCC1D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938601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3A757127-DB86-224E-69B5-8F6D24A320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38603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55FE3FF-7D2F-968F-D15A-BEAE9B99315D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38601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A7A846F7-4DC6-0DAB-A74E-3F427B38C89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8938603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ABC3DD3-5F8E-6DCD-D021-0AB3A1A3DFF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938601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DEE3AA2A-2D14-568F-5799-E9C0D1C0821E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938603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00275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/>
          <a:lstStyle>
            <a:lvl1pPr marL="15875" indent="0">
              <a:tabLst/>
              <a:defRPr b="1" i="0">
                <a:latin typeface="Somfy Sans" pitchFamily="2" charset="0"/>
              </a:defRPr>
            </a:lvl1pPr>
            <a:lvl2pPr marL="15875" indent="0">
              <a:buNone/>
              <a:tabLst/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00660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>
            <a:normAutofit/>
          </a:bodyPr>
          <a:lstStyle>
            <a:lvl1pPr>
              <a:defRPr sz="3200" b="1"/>
            </a:lvl1pPr>
            <a:lvl2pPr marL="0" indent="0">
              <a:buNone/>
              <a:tabLst/>
              <a:defRPr b="0"/>
            </a:lvl2pPr>
            <a:lvl3pPr marL="223838" indent="-131763">
              <a:tabLst/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615266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501462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1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B77150A-90C1-4B63-82F4-4959DD19A5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4974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2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5A299A93-8ADF-E1EF-DC65-A4E9755F92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54653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0723E3B-7658-64C0-B29A-43D70924C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95394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D7C4633-81A1-7563-532A-193FD896EC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81539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D31E579B-CA79-0E59-E871-3FEA98143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BA999C-DC4E-AFE5-109E-78D174E34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37AC010-C91C-EAD8-4914-1CB6A4D85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7CFACC1-CD51-EC38-B4C6-A2386A077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95624" y="1381125"/>
            <a:ext cx="6000750" cy="4095750"/>
          </a:xfrm>
          <a:prstGeom prst="roundRect">
            <a:avLst>
              <a:gd name="adj" fmla="val 12016"/>
            </a:avLst>
          </a:prstGeom>
          <a:solidFill>
            <a:schemeClr val="accent1"/>
          </a:solidFill>
        </p:spPr>
        <p:txBody>
          <a:bodyPr lIns="468000" tIns="324000" rIns="468000" bIns="468000">
            <a:normAutofit/>
          </a:bodyPr>
          <a:lstStyle>
            <a:lvl1pPr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1800" b="0">
                <a:solidFill>
                  <a:schemeClr val="accent2"/>
                </a:solidFill>
              </a:defRPr>
            </a:lvl2pPr>
            <a:lvl3pPr>
              <a:defRPr sz="1600" b="0">
                <a:solidFill>
                  <a:schemeClr val="accent2"/>
                </a:solidFill>
              </a:defRPr>
            </a:lvl3pPr>
            <a:lvl4pPr>
              <a:defRPr sz="1400" b="0">
                <a:solidFill>
                  <a:schemeClr val="accent2"/>
                </a:solidFill>
              </a:defRPr>
            </a:lvl4pPr>
            <a:lvl5pPr>
              <a:defRPr sz="14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C4CAA0-969E-2D46-7D12-8B86F436EA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3138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83F28675-C92D-81C6-4262-C29A0BA0304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07981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4AB7EF7-AD08-88C8-1B9E-719F81EF3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961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717D1F2-D833-4BD2-FBD6-010787685B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6804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pour une image  12">
            <a:extLst>
              <a:ext uri="{FF2B5EF4-FFF2-40B4-BE49-F238E27FC236}">
                <a16:creationId xmlns:a16="http://schemas.microsoft.com/office/drawing/2014/main" id="{1DDB1634-5A81-65E5-1962-8139E566AA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506324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F00006B8-DCDC-66B0-C8B4-7C91E4056D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5147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6C1E037D-44D2-A94C-5E51-6A66AEA09C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9824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pter - Neutral-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184" y="3428999"/>
            <a:ext cx="7792416" cy="961059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184" y="4390059"/>
            <a:ext cx="779241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2" name="Forme libre 21">
            <a:extLst>
              <a:ext uri="{FF2B5EF4-FFF2-40B4-BE49-F238E27FC236}">
                <a16:creationId xmlns:a16="http://schemas.microsoft.com/office/drawing/2014/main" id="{A1D1098E-4556-0B2C-FAB3-29E4B5984BE0}"/>
              </a:ext>
            </a:extLst>
          </p:cNvPr>
          <p:cNvSpPr/>
          <p:nvPr userDrawn="1"/>
        </p:nvSpPr>
        <p:spPr>
          <a:xfrm rot="5400000">
            <a:off x="4381500" y="-4381500"/>
            <a:ext cx="3429000" cy="12192000"/>
          </a:xfrm>
          <a:custGeom>
            <a:avLst/>
            <a:gdLst>
              <a:gd name="connsiteX0" fmla="*/ 0 w 3429000"/>
              <a:gd name="connsiteY0" fmla="*/ 12192000 h 12192000"/>
              <a:gd name="connsiteX1" fmla="*/ 0 w 3429000"/>
              <a:gd name="connsiteY1" fmla="*/ 0 h 12192000"/>
              <a:gd name="connsiteX2" fmla="*/ 2557464 w 3429000"/>
              <a:gd name="connsiteY2" fmla="*/ 0 h 12192000"/>
              <a:gd name="connsiteX3" fmla="*/ 2667124 w 3429000"/>
              <a:gd name="connsiteY3" fmla="*/ 144828 h 12192000"/>
              <a:gd name="connsiteX4" fmla="*/ 3429000 w 3429000"/>
              <a:gd name="connsiteY4" fmla="*/ 2586181 h 12192000"/>
              <a:gd name="connsiteX5" fmla="*/ 3429000 w 3429000"/>
              <a:gd name="connsiteY5" fmla="*/ 9605822 h 12192000"/>
              <a:gd name="connsiteX6" fmla="*/ 2667124 w 3429000"/>
              <a:gd name="connsiteY6" fmla="*/ 12047174 h 12192000"/>
              <a:gd name="connsiteX7" fmla="*/ 2557465 w 3429000"/>
              <a:gd name="connsiteY7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0" h="12192000">
                <a:moveTo>
                  <a:pt x="0" y="12192000"/>
                </a:moveTo>
                <a:lnTo>
                  <a:pt x="0" y="0"/>
                </a:lnTo>
                <a:lnTo>
                  <a:pt x="2557464" y="0"/>
                </a:lnTo>
                <a:lnTo>
                  <a:pt x="2667124" y="144828"/>
                </a:lnTo>
                <a:cubicBezTo>
                  <a:pt x="3147512" y="837808"/>
                  <a:pt x="3429000" y="1679122"/>
                  <a:pt x="3429000" y="2586181"/>
                </a:cubicBezTo>
                <a:lnTo>
                  <a:pt x="3429000" y="9605822"/>
                </a:lnTo>
                <a:cubicBezTo>
                  <a:pt x="3429000" y="10512881"/>
                  <a:pt x="3147512" y="11354195"/>
                  <a:pt x="2667124" y="12047174"/>
                </a:cubicBezTo>
                <a:lnTo>
                  <a:pt x="2557465" y="1219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F5DB1B5-C789-AE52-661D-C028493A9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4" name="Espace réservé du numéro de diapositive 5">
            <a:extLst>
              <a:ext uri="{FF2B5EF4-FFF2-40B4-BE49-F238E27FC236}">
                <a16:creationId xmlns:a16="http://schemas.microsoft.com/office/drawing/2014/main" id="{8D7B533B-06A9-718B-E938-0FDFA1F88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4800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7CD3411-2B7B-4281-7C8D-241760473C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91347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10833845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030559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79E6FC-3678-C11A-FAC4-EAD29BC33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16D766B-81F8-5737-847B-CE76F555B5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DE9B4A1-E7F2-06B9-FCBC-5D3596DCB8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88F32B6-9DF0-5E8F-C58F-CCB32A4AC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1EF4617-50F8-2370-9B4A-BA9136DCA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291037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A5B8A7D-D6FC-7CC2-7156-A2DC8723F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111AE8-D56F-310E-89DB-21D874755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253C80-252C-394C-372C-6EC46004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700013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re seu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65A855C-7B5F-B724-2CFF-9DAE4618E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2230" y="5907606"/>
            <a:ext cx="1167540" cy="305474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D7A9C26E-9B63-CA17-BC4B-0C1A07859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9224" y="2959490"/>
            <a:ext cx="2653552" cy="939020"/>
          </a:xfrm>
          <a:prstGeom prst="round2SameRect">
            <a:avLst>
              <a:gd name="adj1" fmla="val 50000"/>
              <a:gd name="adj2" fmla="val 50000"/>
            </a:avLst>
          </a:prstGeom>
          <a:ln w="28575"/>
        </p:spPr>
        <p:txBody>
          <a:bodyPr vert="horz" tIns="72000" bIns="72000">
            <a:normAutofit/>
          </a:bodyPr>
          <a:lstStyle>
            <a:lvl1pPr algn="ct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Merci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655339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290293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DE369-B809-0CBB-5B60-A7547B08F3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lnSpc>
                <a:spcPct val="90000"/>
              </a:lnSpc>
              <a:defRPr sz="44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AAD364A-47A1-CDD7-1577-68A6D68569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688016"/>
            <a:ext cx="9144000" cy="780456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F5A8C2-FA21-B5B7-3F72-D7BFB7E4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8738" y="5787025"/>
            <a:ext cx="1714522" cy="548461"/>
          </a:xfrm>
          <a:prstGeom prst="roundRect">
            <a:avLst>
              <a:gd name="adj" fmla="val 50000"/>
            </a:avLst>
          </a:prstGeom>
          <a:ln w="19050">
            <a:solidFill>
              <a:schemeClr val="accent2"/>
            </a:solidFill>
          </a:ln>
        </p:spPr>
        <p:txBody>
          <a:bodyPr anchor="ctr"/>
          <a:lstStyle>
            <a:lvl1pPr algn="ctr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CD4729C-2FE4-A0AD-5186-E74DC4E69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2434" y="730152"/>
            <a:ext cx="1147131" cy="300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611019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394" y="2315255"/>
            <a:ext cx="2911236" cy="222749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l">
              <a:defRPr sz="28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FE53A088-C685-698B-9C8F-EB253F9EA6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3073" y="0"/>
            <a:ext cx="9548927" cy="6858000"/>
          </a:xfrm>
          <a:custGeom>
            <a:avLst/>
            <a:gdLst>
              <a:gd name="connsiteX0" fmla="*/ 0 w 9548927"/>
              <a:gd name="connsiteY0" fmla="*/ 0 h 6858000"/>
              <a:gd name="connsiteX1" fmla="*/ 9548927 w 9548927"/>
              <a:gd name="connsiteY1" fmla="*/ 0 h 6858000"/>
              <a:gd name="connsiteX2" fmla="*/ 9548927 w 9548927"/>
              <a:gd name="connsiteY2" fmla="*/ 6858000 h 6858000"/>
              <a:gd name="connsiteX3" fmla="*/ 0 w 9548927"/>
              <a:gd name="connsiteY3" fmla="*/ 6858000 h 6858000"/>
              <a:gd name="connsiteX4" fmla="*/ 79067 w 9548927"/>
              <a:gd name="connsiteY4" fmla="*/ 6786139 h 6858000"/>
              <a:gd name="connsiteX5" fmla="*/ 938327 w 9548927"/>
              <a:gd name="connsiteY5" fmla="*/ 4711700 h 6858000"/>
              <a:gd name="connsiteX6" fmla="*/ 938327 w 9548927"/>
              <a:gd name="connsiteY6" fmla="*/ 2146300 h 6858000"/>
              <a:gd name="connsiteX7" fmla="*/ 79067 w 9548927"/>
              <a:gd name="connsiteY7" fmla="*/ 718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8927" h="6858000">
                <a:moveTo>
                  <a:pt x="0" y="0"/>
                </a:moveTo>
                <a:lnTo>
                  <a:pt x="9548927" y="0"/>
                </a:lnTo>
                <a:lnTo>
                  <a:pt x="9548927" y="6858000"/>
                </a:lnTo>
                <a:lnTo>
                  <a:pt x="0" y="6858000"/>
                </a:lnTo>
                <a:lnTo>
                  <a:pt x="79067" y="6786139"/>
                </a:lnTo>
                <a:cubicBezTo>
                  <a:pt x="609962" y="6255244"/>
                  <a:pt x="938327" y="5521819"/>
                  <a:pt x="938327" y="4711700"/>
                </a:cubicBezTo>
                <a:lnTo>
                  <a:pt x="938327" y="2146300"/>
                </a:lnTo>
                <a:cubicBezTo>
                  <a:pt x="938327" y="1336181"/>
                  <a:pt x="609962" y="602756"/>
                  <a:pt x="79067" y="7186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5A0458B-D994-457A-ACFB-C349E4723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68" y="731305"/>
            <a:ext cx="1147131" cy="300136"/>
          </a:xfrm>
          <a:prstGeom prst="rect">
            <a:avLst/>
          </a:prstGeom>
        </p:spPr>
      </p:pic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E1EF8DF-996F-8F9B-00FD-8AF399F4D5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393" y="5787025"/>
            <a:ext cx="1714522" cy="54846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l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728185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1" y="2315255"/>
            <a:ext cx="3213287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24" name="Espace réservé pour une image  23">
            <a:extLst>
              <a:ext uri="{FF2B5EF4-FFF2-40B4-BE49-F238E27FC236}">
                <a16:creationId xmlns:a16="http://schemas.microsoft.com/office/drawing/2014/main" id="{34385CDF-2C47-C486-D02D-7871C97EDC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25" name="Sous-titre 2">
            <a:extLst>
              <a:ext uri="{FF2B5EF4-FFF2-40B4-BE49-F238E27FC236}">
                <a16:creationId xmlns:a16="http://schemas.microsoft.com/office/drawing/2014/main" id="{8E1BF216-F2B8-070D-7B30-BA9C864B9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879A9E24-52DC-AD25-9A3C-D1A983D6C8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27" name="Espace réservé du numéro de diapositive 5">
            <a:extLst>
              <a:ext uri="{FF2B5EF4-FFF2-40B4-BE49-F238E27FC236}">
                <a16:creationId xmlns:a16="http://schemas.microsoft.com/office/drawing/2014/main" id="{96083338-D259-6F17-D03F-915609FDCA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663407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169" y="1336431"/>
            <a:ext cx="11359661" cy="4185138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defRPr sz="23000" b="1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r>
              <a:rPr lang="fr-FR"/>
              <a:t>Chapitre</a:t>
            </a:r>
            <a:endParaRPr lang="en-GB"/>
          </a:p>
        </p:txBody>
      </p:sp>
      <p:sp>
        <p:nvSpPr>
          <p:cNvPr id="12" name="Sous-titre 2">
            <a:extLst>
              <a:ext uri="{FF2B5EF4-FFF2-40B4-BE49-F238E27FC236}">
                <a16:creationId xmlns:a16="http://schemas.microsoft.com/office/drawing/2014/main" id="{CF69F196-5ED5-D392-C81B-C0A0A0469E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13718" y="536820"/>
            <a:ext cx="2502877" cy="1343163"/>
          </a:xfrm>
        </p:spPr>
        <p:txBody>
          <a:bodyPr anchor="ctr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66102D1-AA91-8F4F-D7A4-4AD9A0E9D6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12628" y="3780692"/>
            <a:ext cx="4865199" cy="3077308"/>
          </a:xfrm>
        </p:spPr>
        <p:txBody>
          <a:bodyPr anchor="b">
            <a:noAutofit/>
          </a:bodyPr>
          <a:lstStyle>
            <a:lvl1pPr algn="r">
              <a:defRPr sz="24000" b="1" i="0">
                <a:ln>
                  <a:solidFill>
                    <a:schemeClr val="bg1"/>
                  </a:solidFill>
                </a:ln>
                <a:noFill/>
                <a:latin typeface="Somfy Sans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01</a:t>
            </a:r>
            <a:endParaRPr lang="en-GB"/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830B4683-EC15-CEE9-D169-97CBF46A5E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25530AAE-B0DC-0415-EC10-0FD05B47BA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938615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2" y="2315255"/>
            <a:ext cx="321328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0" name="Forme libre 9">
            <a:extLst>
              <a:ext uri="{FF2B5EF4-FFF2-40B4-BE49-F238E27FC236}">
                <a16:creationId xmlns:a16="http://schemas.microsoft.com/office/drawing/2014/main" id="{BCFDDDBD-A5EF-27E9-0158-06EF3714BFA4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185F905-2A46-DA18-0D72-0DAE780035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221F716-E76D-A397-DFED-B644677D8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6603D368-D5F7-C70B-7A53-B9D82579A0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77658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pter - Neutral- Option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 : avec coins arrondis en haut 3">
            <a:extLst>
              <a:ext uri="{FF2B5EF4-FFF2-40B4-BE49-F238E27FC236}">
                <a16:creationId xmlns:a16="http://schemas.microsoft.com/office/drawing/2014/main" id="{08DA85AC-905A-9833-5330-89EE1361A228}"/>
              </a:ext>
            </a:extLst>
          </p:cNvPr>
          <p:cNvSpPr/>
          <p:nvPr userDrawn="1"/>
        </p:nvSpPr>
        <p:spPr>
          <a:xfrm>
            <a:off x="543599" y="0"/>
            <a:ext cx="5267547" cy="614195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0585" y="1470375"/>
            <a:ext cx="4556643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0586" y="3625896"/>
            <a:ext cx="4556642" cy="1181591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767A10A-4DE5-7D58-39A6-743B0623F2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4400" y="6448288"/>
            <a:ext cx="608633" cy="159243"/>
          </a:xfrm>
          <a:prstGeom prst="rect">
            <a:avLst/>
          </a:prstGeom>
        </p:spPr>
      </p:pic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C7B0491C-31AA-33A2-9559-2AF726BB5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581A5DD-1E78-5925-08DC-492D51A07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4800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737448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184" y="3428999"/>
            <a:ext cx="7792416" cy="961059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184" y="4390059"/>
            <a:ext cx="779241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2" name="Forme libre 21">
            <a:extLst>
              <a:ext uri="{FF2B5EF4-FFF2-40B4-BE49-F238E27FC236}">
                <a16:creationId xmlns:a16="http://schemas.microsoft.com/office/drawing/2014/main" id="{A1D1098E-4556-0B2C-FAB3-29E4B5984BE0}"/>
              </a:ext>
            </a:extLst>
          </p:cNvPr>
          <p:cNvSpPr/>
          <p:nvPr userDrawn="1"/>
        </p:nvSpPr>
        <p:spPr>
          <a:xfrm rot="5400000">
            <a:off x="4381500" y="-4381500"/>
            <a:ext cx="3429000" cy="12192000"/>
          </a:xfrm>
          <a:custGeom>
            <a:avLst/>
            <a:gdLst>
              <a:gd name="connsiteX0" fmla="*/ 0 w 3429000"/>
              <a:gd name="connsiteY0" fmla="*/ 12192000 h 12192000"/>
              <a:gd name="connsiteX1" fmla="*/ 0 w 3429000"/>
              <a:gd name="connsiteY1" fmla="*/ 0 h 12192000"/>
              <a:gd name="connsiteX2" fmla="*/ 2557464 w 3429000"/>
              <a:gd name="connsiteY2" fmla="*/ 0 h 12192000"/>
              <a:gd name="connsiteX3" fmla="*/ 2667124 w 3429000"/>
              <a:gd name="connsiteY3" fmla="*/ 144828 h 12192000"/>
              <a:gd name="connsiteX4" fmla="*/ 3429000 w 3429000"/>
              <a:gd name="connsiteY4" fmla="*/ 2586181 h 12192000"/>
              <a:gd name="connsiteX5" fmla="*/ 3429000 w 3429000"/>
              <a:gd name="connsiteY5" fmla="*/ 9605822 h 12192000"/>
              <a:gd name="connsiteX6" fmla="*/ 2667124 w 3429000"/>
              <a:gd name="connsiteY6" fmla="*/ 12047174 h 12192000"/>
              <a:gd name="connsiteX7" fmla="*/ 2557465 w 3429000"/>
              <a:gd name="connsiteY7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0" h="12192000">
                <a:moveTo>
                  <a:pt x="0" y="12192000"/>
                </a:moveTo>
                <a:lnTo>
                  <a:pt x="0" y="0"/>
                </a:lnTo>
                <a:lnTo>
                  <a:pt x="2557464" y="0"/>
                </a:lnTo>
                <a:lnTo>
                  <a:pt x="2667124" y="144828"/>
                </a:lnTo>
                <a:cubicBezTo>
                  <a:pt x="3147512" y="837808"/>
                  <a:pt x="3429000" y="1679122"/>
                  <a:pt x="3429000" y="2586181"/>
                </a:cubicBezTo>
                <a:lnTo>
                  <a:pt x="3429000" y="9605822"/>
                </a:lnTo>
                <a:cubicBezTo>
                  <a:pt x="3429000" y="10512881"/>
                  <a:pt x="3147512" y="11354195"/>
                  <a:pt x="2667124" y="12047174"/>
                </a:cubicBezTo>
                <a:lnTo>
                  <a:pt x="2557465" y="1219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F5DB1B5-C789-AE52-661D-C028493A9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24" name="Espace réservé du numéro de diapositive 5">
            <a:extLst>
              <a:ext uri="{FF2B5EF4-FFF2-40B4-BE49-F238E27FC236}">
                <a16:creationId xmlns:a16="http://schemas.microsoft.com/office/drawing/2014/main" id="{8D7B533B-06A9-718B-E938-0FDFA1F88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74309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 : avec coins arrondis en haut 4">
            <a:extLst>
              <a:ext uri="{FF2B5EF4-FFF2-40B4-BE49-F238E27FC236}">
                <a16:creationId xmlns:a16="http://schemas.microsoft.com/office/drawing/2014/main" id="{E3F4E120-F862-27AD-D4DE-61FB32408D6E}"/>
              </a:ext>
            </a:extLst>
          </p:cNvPr>
          <p:cNvSpPr/>
          <p:nvPr userDrawn="1"/>
        </p:nvSpPr>
        <p:spPr>
          <a:xfrm>
            <a:off x="1574800" y="0"/>
            <a:ext cx="4140200" cy="4267200"/>
          </a:xfrm>
          <a:prstGeom prst="round2SameRect">
            <a:avLst>
              <a:gd name="adj1" fmla="val 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3142" y="650241"/>
            <a:ext cx="303185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83142" y="2805762"/>
            <a:ext cx="2539098" cy="1181591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767A10A-4DE5-7D58-39A6-743B0623F2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C7B0491C-31AA-33A2-9559-2AF726BB5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581A5DD-1E78-5925-08DC-492D51A07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62331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 : avec coins arrondis en haut 5">
            <a:extLst>
              <a:ext uri="{FF2B5EF4-FFF2-40B4-BE49-F238E27FC236}">
                <a16:creationId xmlns:a16="http://schemas.microsoft.com/office/drawing/2014/main" id="{27CAEBC4-144B-E241-7C2F-ED9196235B61}"/>
              </a:ext>
            </a:extLst>
          </p:cNvPr>
          <p:cNvSpPr/>
          <p:nvPr userDrawn="1"/>
        </p:nvSpPr>
        <p:spPr>
          <a:xfrm rot="5400000">
            <a:off x="6070600" y="-645160"/>
            <a:ext cx="4094480" cy="8148320"/>
          </a:xfrm>
          <a:prstGeom prst="round2SameRect">
            <a:avLst>
              <a:gd name="adj1" fmla="val 0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8822" y="2010455"/>
            <a:ext cx="668293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8822" y="3634626"/>
            <a:ext cx="668293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BE70A30-AC3D-C21B-D5A3-E3AF81F0EE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A418C663-5C06-BAA8-1ED3-F459AAE51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77E13569-47F7-A9EB-6548-583015548F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610027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874" y="3637281"/>
            <a:ext cx="339253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5874" y="5792803"/>
            <a:ext cx="3392538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F30702F7-5443-FCAB-0F0C-889A80B7BA6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86400" y="1625600"/>
            <a:ext cx="4803140" cy="5232400"/>
          </a:xfrm>
          <a:custGeom>
            <a:avLst/>
            <a:gdLst>
              <a:gd name="connsiteX0" fmla="*/ 2401570 w 4803140"/>
              <a:gd name="connsiteY0" fmla="*/ 0 h 5232400"/>
              <a:gd name="connsiteX1" fmla="*/ 4803140 w 4803140"/>
              <a:gd name="connsiteY1" fmla="*/ 2401570 h 5232400"/>
              <a:gd name="connsiteX2" fmla="*/ 4803140 w 4803140"/>
              <a:gd name="connsiteY2" fmla="*/ 5232400 h 5232400"/>
              <a:gd name="connsiteX3" fmla="*/ 0 w 4803140"/>
              <a:gd name="connsiteY3" fmla="*/ 5232400 h 5232400"/>
              <a:gd name="connsiteX4" fmla="*/ 0 w 4803140"/>
              <a:gd name="connsiteY4" fmla="*/ 2401570 h 5232400"/>
              <a:gd name="connsiteX5" fmla="*/ 2401570 w 4803140"/>
              <a:gd name="connsiteY5" fmla="*/ 0 h 52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03140" h="5232400">
                <a:moveTo>
                  <a:pt x="2401570" y="0"/>
                </a:moveTo>
                <a:cubicBezTo>
                  <a:pt x="3727920" y="0"/>
                  <a:pt x="4803140" y="1075220"/>
                  <a:pt x="4803140" y="2401570"/>
                </a:cubicBezTo>
                <a:lnTo>
                  <a:pt x="4803140" y="5232400"/>
                </a:lnTo>
                <a:lnTo>
                  <a:pt x="0" y="5232400"/>
                </a:lnTo>
                <a:lnTo>
                  <a:pt x="0" y="2401570"/>
                </a:lnTo>
                <a:cubicBezTo>
                  <a:pt x="0" y="1075220"/>
                  <a:pt x="1075220" y="0"/>
                  <a:pt x="24015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DC7CBAEF-A3CC-0809-62A7-999C8D0C1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46B59288-641E-BB0F-2D37-B1F487747B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678467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2758" y="1505133"/>
            <a:ext cx="2932147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22758" y="3660655"/>
            <a:ext cx="2932147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ABB1A5C2-CE8F-141E-482F-9D579C3422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154905" y="-1"/>
            <a:ext cx="6063916" cy="6219825"/>
          </a:xfrm>
          <a:custGeom>
            <a:avLst/>
            <a:gdLst>
              <a:gd name="connsiteX0" fmla="*/ 0 w 6063916"/>
              <a:gd name="connsiteY0" fmla="*/ 0 h 6219825"/>
              <a:gd name="connsiteX1" fmla="*/ 6063916 w 6063916"/>
              <a:gd name="connsiteY1" fmla="*/ 0 h 6219825"/>
              <a:gd name="connsiteX2" fmla="*/ 6063916 w 6063916"/>
              <a:gd name="connsiteY2" fmla="*/ 3365046 h 6219825"/>
              <a:gd name="connsiteX3" fmla="*/ 3031958 w 6063916"/>
              <a:gd name="connsiteY3" fmla="*/ 6219825 h 6219825"/>
              <a:gd name="connsiteX4" fmla="*/ 0 w 6063916"/>
              <a:gd name="connsiteY4" fmla="*/ 3365046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3916" h="6219825">
                <a:moveTo>
                  <a:pt x="0" y="0"/>
                </a:moveTo>
                <a:lnTo>
                  <a:pt x="6063916" y="0"/>
                </a:lnTo>
                <a:lnTo>
                  <a:pt x="6063916" y="3365046"/>
                </a:lnTo>
                <a:cubicBezTo>
                  <a:pt x="6063916" y="4941697"/>
                  <a:pt x="4706462" y="6219825"/>
                  <a:pt x="3031958" y="6219825"/>
                </a:cubicBezTo>
                <a:cubicBezTo>
                  <a:pt x="1357455" y="6219825"/>
                  <a:pt x="0" y="4941697"/>
                  <a:pt x="0" y="336504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B7CDBDB-910C-F161-AAA0-EB82BD9D97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5153BCC4-EF22-07F2-585D-B56E33205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048789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2714" y="2010455"/>
            <a:ext cx="5169046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2714" y="3634626"/>
            <a:ext cx="516904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F8854EA6-C51F-C19D-9D42-B9D00327B0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1943099"/>
            <a:ext cx="5729288" cy="2971800"/>
          </a:xfrm>
          <a:custGeom>
            <a:avLst/>
            <a:gdLst>
              <a:gd name="connsiteX0" fmla="*/ 0 w 5729288"/>
              <a:gd name="connsiteY0" fmla="*/ 0 h 2971800"/>
              <a:gd name="connsiteX1" fmla="*/ 4243388 w 5729288"/>
              <a:gd name="connsiteY1" fmla="*/ 0 h 2971800"/>
              <a:gd name="connsiteX2" fmla="*/ 5729288 w 5729288"/>
              <a:gd name="connsiteY2" fmla="*/ 1485900 h 2971800"/>
              <a:gd name="connsiteX3" fmla="*/ 4243388 w 5729288"/>
              <a:gd name="connsiteY3" fmla="*/ 2971800 h 2971800"/>
              <a:gd name="connsiteX4" fmla="*/ 0 w 5729288"/>
              <a:gd name="connsiteY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9288" h="2971800">
                <a:moveTo>
                  <a:pt x="0" y="0"/>
                </a:moveTo>
                <a:lnTo>
                  <a:pt x="4243388" y="0"/>
                </a:lnTo>
                <a:cubicBezTo>
                  <a:pt x="5064028" y="0"/>
                  <a:pt x="5729288" y="665260"/>
                  <a:pt x="5729288" y="1485900"/>
                </a:cubicBezTo>
                <a:cubicBezTo>
                  <a:pt x="5729288" y="2306540"/>
                  <a:pt x="5064028" y="2971800"/>
                  <a:pt x="4243388" y="2971800"/>
                </a:cubicBezTo>
                <a:lnTo>
                  <a:pt x="0" y="2971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A267866C-7543-E78B-6E49-433BCE15F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21" name="Espace réservé du numéro de diapositive 5">
            <a:extLst>
              <a:ext uri="{FF2B5EF4-FFF2-40B4-BE49-F238E27FC236}">
                <a16:creationId xmlns:a16="http://schemas.microsoft.com/office/drawing/2014/main" id="{93B9BAF8-19DF-64CC-A9F5-0BBD1FD89C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512001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BF75147-10DA-B8A1-19F9-310B6ECB9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646124" y="1102178"/>
            <a:ext cx="1263421" cy="4653643"/>
          </a:xfrm>
          <a:ln w="28575"/>
        </p:spPr>
        <p:txBody>
          <a:bodyPr tIns="432000" bIns="72000">
            <a:normAutofit/>
          </a:bodyPr>
          <a:lstStyle>
            <a:lvl1pPr algn="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Sommai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F5F5F7-4512-0EAE-850B-9D6161A6B1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0504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B2AE38F-F49E-C383-72B5-D0C3131BD2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0506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2DA2207-92D1-2F1E-0DB4-3B5058CC4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5E3658B-BA18-6272-2723-8765DF75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805F7E82-A139-4B89-6C7C-7756D0B23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760504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75DC4D65-568E-DC72-2076-42A24F61108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60506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707FE6A4-37EF-0BD0-9998-E42E05682CB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60504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39634420-DBC5-783D-98EB-F0C686A02ED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760506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6052C59-09F0-F27A-7498-B5877E79D60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760504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EDB500C8-4390-11BF-1866-294EB2E89FD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760506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50839CB2-6DAF-F5EA-C2A8-ADF6E9940A7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60504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3BD630F1-5EB4-3E89-27CA-4215A42D341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760506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93DDC2B-E7BD-2BD1-5E2D-48CC2C42206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938601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D7BD70F-9B56-BD52-FF5A-32EFE537FE3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938603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61ED1ED-25F3-B195-2804-81029EDF30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938601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6F17A58-1D87-011B-7352-200252423D6D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938603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6022D409-A30C-44D1-A50E-662EEDCC1D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938601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3A757127-DB86-224E-69B5-8F6D24A320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38603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55FE3FF-7D2F-968F-D15A-BEAE9B99315D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38601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A7A846F7-4DC6-0DAB-A74E-3F427B38C89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8938603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ABC3DD3-5F8E-6DCD-D021-0AB3A1A3DFF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938601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DEE3AA2A-2D14-568F-5799-E9C0D1C0821E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938603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921907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/>
          <a:lstStyle>
            <a:lvl1pPr marL="15875" indent="0">
              <a:tabLst/>
              <a:defRPr b="1" i="0">
                <a:latin typeface="Somfy Sans" pitchFamily="2" charset="0"/>
              </a:defRPr>
            </a:lvl1pPr>
            <a:lvl2pPr marL="15875" indent="0">
              <a:buNone/>
              <a:tabLst/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866557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>
            <a:normAutofit/>
          </a:bodyPr>
          <a:lstStyle>
            <a:lvl1pPr>
              <a:defRPr sz="3200" b="1"/>
            </a:lvl1pPr>
            <a:lvl2pPr marL="0" indent="0">
              <a:buNone/>
              <a:tabLst/>
              <a:defRPr b="0"/>
            </a:lvl2pPr>
            <a:lvl3pPr marL="223838" indent="-131763">
              <a:tabLst/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911181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437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397482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0" i="0">
                <a:solidFill>
                  <a:srgbClr val="25485A"/>
                </a:solidFill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  <a:lvl3pPr>
              <a:defRPr>
                <a:solidFill>
                  <a:srgbClr val="25485A"/>
                </a:solidFill>
              </a:defRPr>
            </a:lvl3pPr>
            <a:lvl4pPr marL="16002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4pPr>
            <a:lvl5pPr>
              <a:defRPr>
                <a:solidFill>
                  <a:srgbClr val="25485A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9FCCA95E-564E-74A8-78B0-C11C5C7887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9954" y="2240895"/>
            <a:ext cx="3263152" cy="3740357"/>
          </a:xfrm>
        </p:spPr>
        <p:txBody>
          <a:bodyPr>
            <a:normAutofit/>
          </a:bodyPr>
          <a:lstStyle>
            <a:lvl1pPr>
              <a:defRPr sz="32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FE2320D-21F5-02F6-4F6A-B59B9172F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1325563"/>
          </a:xfrm>
        </p:spPr>
        <p:txBody>
          <a:bodyPr/>
          <a:lstStyle>
            <a:lvl1pPr>
              <a:defRPr>
                <a:solidFill>
                  <a:srgbClr val="25485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64909404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1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B77150A-90C1-4B63-82F4-4959DD19A5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95580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2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5A299A93-8ADF-E1EF-DC65-A4E9755F92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30531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0723E3B-7658-64C0-B29A-43D70924C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965105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D7C4633-81A1-7563-532A-193FD896EC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88143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D31E579B-CA79-0E59-E871-3FEA98143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BA999C-DC4E-AFE5-109E-78D174E34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37AC010-C91C-EAD8-4914-1CB6A4D85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7CFACC1-CD51-EC38-B4C6-A2386A077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95624" y="1381125"/>
            <a:ext cx="6000750" cy="4095750"/>
          </a:xfrm>
          <a:prstGeom prst="roundRect">
            <a:avLst>
              <a:gd name="adj" fmla="val 12016"/>
            </a:avLst>
          </a:prstGeom>
          <a:solidFill>
            <a:schemeClr val="accent1"/>
          </a:solidFill>
        </p:spPr>
        <p:txBody>
          <a:bodyPr lIns="468000" tIns="324000" rIns="468000" bIns="468000">
            <a:normAutofit/>
          </a:bodyPr>
          <a:lstStyle>
            <a:lvl1pPr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1800" b="0">
                <a:solidFill>
                  <a:schemeClr val="accent2"/>
                </a:solidFill>
              </a:defRPr>
            </a:lvl2pPr>
            <a:lvl3pPr>
              <a:defRPr sz="1600" b="0">
                <a:solidFill>
                  <a:schemeClr val="accent2"/>
                </a:solidFill>
              </a:defRPr>
            </a:lvl3pPr>
            <a:lvl4pPr>
              <a:defRPr sz="1400" b="0">
                <a:solidFill>
                  <a:schemeClr val="accent2"/>
                </a:solidFill>
              </a:defRPr>
            </a:lvl4pPr>
            <a:lvl5pPr>
              <a:defRPr sz="14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C4CAA0-969E-2D46-7D12-8B86F436EA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3138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83F28675-C92D-81C6-4262-C29A0BA0304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07981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4AB7EF7-AD08-88C8-1B9E-719F81EF3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961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717D1F2-D833-4BD2-FBD6-010787685B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6804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pour une image  12">
            <a:extLst>
              <a:ext uri="{FF2B5EF4-FFF2-40B4-BE49-F238E27FC236}">
                <a16:creationId xmlns:a16="http://schemas.microsoft.com/office/drawing/2014/main" id="{1DDB1634-5A81-65E5-1962-8139E566AA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506324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F00006B8-DCDC-66B0-C8B4-7C91E4056D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5147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6C1E037D-44D2-A94C-5E51-6A66AEA09C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35754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10833845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841661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79E6FC-3678-C11A-FAC4-EAD29BC33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16D766B-81F8-5737-847B-CE76F555B5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DE9B4A1-E7F2-06B9-FCBC-5D3596DCB8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88F32B6-9DF0-5E8F-C58F-CCB32A4AC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1EF4617-50F8-2370-9B4A-BA9136DCA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817998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A5B8A7D-D6FC-7CC2-7156-A2DC8723F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111AE8-D56F-310E-89DB-21D874755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253C80-252C-394C-372C-6EC46004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962913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2318D-BB55-4C30-9F3F-E81B7D2D3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FE79B0-A8B4-4BE6-BA7D-FB77F6B07B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23EDCB-A83A-43B6-BB37-4C0034BE58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A385715C-21E6-408D-B9B3-9DEFC534C3D5}"/>
              </a:ext>
            </a:extLst>
          </p:cNvPr>
          <p:cNvSpPr txBox="1">
            <a:spLocks/>
          </p:cNvSpPr>
          <p:nvPr userDrawn="1"/>
        </p:nvSpPr>
        <p:spPr>
          <a:xfrm rot="16200000" flipH="1">
            <a:off x="4323721" y="-1556329"/>
            <a:ext cx="2245088" cy="1096873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/>
          </a:solidFill>
          <a:ln w="12700">
            <a:noFill/>
          </a:ln>
        </p:spPr>
        <p:txBody>
          <a:bodyPr vert="vert270" lIns="91440" tIns="45720" rIns="91440" bIns="57600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9502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2318D-BB55-4C30-9F3F-E81B7D2D3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FE79B0-A8B4-4BE6-BA7D-FB77F6B07B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23EDCB-A83A-43B6-BB37-4C0034BE58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A385715C-21E6-408D-B9B3-9DEFC534C3D5}"/>
              </a:ext>
            </a:extLst>
          </p:cNvPr>
          <p:cNvSpPr txBox="1">
            <a:spLocks/>
          </p:cNvSpPr>
          <p:nvPr userDrawn="1"/>
        </p:nvSpPr>
        <p:spPr>
          <a:xfrm rot="5400000">
            <a:off x="5616997" y="-1556329"/>
            <a:ext cx="2245088" cy="1096873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/>
          </a:solidFill>
          <a:ln w="12700">
            <a:noFill/>
          </a:ln>
        </p:spPr>
        <p:txBody>
          <a:bodyPr vert="vert270" lIns="91440" tIns="45720" rIns="91440" bIns="57600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487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46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33" Type="http://schemas.openxmlformats.org/officeDocument/2006/relationships/image" Target="../media/image7.emf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29" Type="http://schemas.openxmlformats.org/officeDocument/2006/relationships/slideLayout" Target="../slideLayouts/slideLayout49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slideLayout" Target="../slideLayouts/slideLayout47.xml"/><Relationship Id="rId30" Type="http://schemas.openxmlformats.org/officeDocument/2006/relationships/theme" Target="../theme/theme2.xml"/><Relationship Id="rId8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77.xml"/><Relationship Id="rId21" Type="http://schemas.openxmlformats.org/officeDocument/2006/relationships/slideLayout" Target="../slideLayouts/slideLayout95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33" Type="http://schemas.openxmlformats.org/officeDocument/2006/relationships/image" Target="../media/image7.emf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tags" Target="../tags/tag8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slideLayout" Target="../slideLayouts/slideLayout101.xml"/><Relationship Id="rId30" Type="http://schemas.openxmlformats.org/officeDocument/2006/relationships/theme" Target="../theme/theme4.xml"/><Relationship Id="rId8" Type="http://schemas.openxmlformats.org/officeDocument/2006/relationships/slideLayout" Target="../slideLayouts/slideLayout8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AAA195B-95B5-8A50-18FC-A49922E77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818043"/>
            <a:ext cx="10896599" cy="41632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77D3FC-4FE8-B780-A274-D9A6CC7E07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524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F19870-8E7A-AC02-9170-7CD53DC03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9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97805DB-5B3E-C58F-4AD8-FEFFA388367F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  <p:sp>
        <p:nvSpPr>
          <p:cNvPr id="36" name="Espace réservé du titre 35">
            <a:extLst>
              <a:ext uri="{FF2B5EF4-FFF2-40B4-BE49-F238E27FC236}">
                <a16:creationId xmlns:a16="http://schemas.microsoft.com/office/drawing/2014/main" id="{F5F19FC6-14D0-8387-FE3D-9C988F406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089659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035448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3" r:id="rId3"/>
    <p:sldLayoutId id="2147483661" r:id="rId4"/>
    <p:sldLayoutId id="2147483668" r:id="rId5"/>
    <p:sldLayoutId id="2147483678" r:id="rId6"/>
    <p:sldLayoutId id="2147483664" r:id="rId7"/>
    <p:sldLayoutId id="2147483665" r:id="rId8"/>
    <p:sldLayoutId id="2147483669" r:id="rId9"/>
    <p:sldLayoutId id="2147483679" r:id="rId10"/>
    <p:sldLayoutId id="2147483660" r:id="rId11"/>
    <p:sldLayoutId id="2147483670" r:id="rId12"/>
    <p:sldLayoutId id="2147483655" r:id="rId13"/>
    <p:sldLayoutId id="2147483654" r:id="rId14"/>
    <p:sldLayoutId id="2147483676" r:id="rId15"/>
    <p:sldLayoutId id="2147483677" r:id="rId16"/>
    <p:sldLayoutId id="2147483708" r:id="rId17"/>
    <p:sldLayoutId id="2147483715" r:id="rId18"/>
    <p:sldLayoutId id="2147483717" r:id="rId19"/>
    <p:sldLayoutId id="2147483720" r:id="rId20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i="0" kern="1200">
          <a:solidFill>
            <a:srgbClr val="25485A"/>
          </a:solidFill>
          <a:latin typeface="Somfy Sans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1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51F7974-3CC6-4D11-8385-ED12781B88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087199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53" imgH="353" progId="TCLayout.ActiveDocument.1">
                  <p:embed/>
                </p:oleObj>
              </mc:Choice>
              <mc:Fallback>
                <p:oleObj name="think-cell Slide" r:id="rId32" imgW="353" imgH="35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51F7974-3CC6-4D11-8385-ED12781B88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DF95BC87-ECDD-EBA2-B1D0-CA8967E5D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1331664" y="-698217"/>
            <a:ext cx="884419" cy="3600000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accent2"/>
            </a:solidFill>
          </a:ln>
        </p:spPr>
        <p:txBody>
          <a:bodyPr vert="vert270" lIns="91440" tIns="45720" rIns="91440" bIns="576000" rtlCol="0" anchor="ctr">
            <a:norm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AAA195B-95B5-8A50-18FC-A49922E77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2240895"/>
            <a:ext cx="10896599" cy="3740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77D3FC-4FE8-B780-A274-D9A6CC7E07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anose="00000500000000000000" pitchFamily="50" charset="0"/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F19870-8E7A-AC02-9170-7CD53DC03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97805DB-5B3E-C58F-4AD8-FEFFA388367F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706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7" r:id="rId14"/>
    <p:sldLayoutId id="2147483748" r:id="rId15"/>
    <p:sldLayoutId id="2147483749" r:id="rId16"/>
    <p:sldLayoutId id="2147483750" r:id="rId17"/>
    <p:sldLayoutId id="2147483751" r:id="rId18"/>
    <p:sldLayoutId id="2147483752" r:id="rId19"/>
    <p:sldLayoutId id="2147483753" r:id="rId20"/>
    <p:sldLayoutId id="2147483754" r:id="rId21"/>
    <p:sldLayoutId id="2147483755" r:id="rId22"/>
    <p:sldLayoutId id="2147483756" r:id="rId23"/>
    <p:sldLayoutId id="2147483757" r:id="rId24"/>
    <p:sldLayoutId id="2147483758" r:id="rId25"/>
    <p:sldLayoutId id="2147483759" r:id="rId26"/>
    <p:sldLayoutId id="2147483760" r:id="rId27"/>
    <p:sldLayoutId id="2147483761" r:id="rId28"/>
    <p:sldLayoutId id="2147483762" r:id="rId2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0" i="0" kern="1200">
          <a:solidFill>
            <a:schemeClr val="accent1"/>
          </a:solidFill>
          <a:latin typeface="Somfy Sans" panose="00000500000000000000" pitchFamily="50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DF95BC87-ECDD-EBA2-B1D0-CA8967E5D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500228" y="129361"/>
            <a:ext cx="884419" cy="1944845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accent2"/>
            </a:solidFill>
          </a:ln>
        </p:spPr>
        <p:txBody>
          <a:bodyPr vert="vert270" lIns="91440" tIns="45720" rIns="91440" bIns="576000" rtlCol="0" anchor="ctr">
            <a:norm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AAA195B-95B5-8A50-18FC-A49922E77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2240895"/>
            <a:ext cx="10896599" cy="3740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77D3FC-4FE8-B780-A274-D9A6CC7E07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F19870-8E7A-AC02-9170-7CD53DC03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97805DB-5B3E-C58F-4AD8-FEFFA388367F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4877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783" r:id="rId20"/>
    <p:sldLayoutId id="2147483784" r:id="rId21"/>
    <p:sldLayoutId id="2147483785" r:id="rId22"/>
    <p:sldLayoutId id="2147483786" r:id="rId23"/>
    <p:sldLayoutId id="2147483787" r:id="rId24"/>
    <p:sldLayoutId id="2147483788" r:id="rId2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600" b="0" i="0" kern="1200">
          <a:solidFill>
            <a:schemeClr val="accent1"/>
          </a:solidFill>
          <a:latin typeface="Somfy Sans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51F7974-3CC6-4D11-8385-ED12781B88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087199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53" imgH="353" progId="TCLayout.ActiveDocument.1">
                  <p:embed/>
                </p:oleObj>
              </mc:Choice>
              <mc:Fallback>
                <p:oleObj name="think-cell Slide" r:id="rId32" imgW="353" imgH="35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51F7974-3CC6-4D11-8385-ED12781B88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DF95BC87-ECDD-EBA2-B1D0-CA8967E5D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1331664" y="-698217"/>
            <a:ext cx="884419" cy="3600000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accent2"/>
            </a:solidFill>
          </a:ln>
        </p:spPr>
        <p:txBody>
          <a:bodyPr vert="vert270" lIns="91440" tIns="45720" rIns="91440" bIns="576000" rtlCol="0" anchor="ctr">
            <a:norm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AAA195B-95B5-8A50-18FC-A49922E77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2240895"/>
            <a:ext cx="10896599" cy="3740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77D3FC-4FE8-B780-A274-D9A6CC7E07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anose="00000500000000000000" pitchFamily="50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F19870-8E7A-AC02-9170-7CD53DC03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97805DB-5B3E-C58F-4AD8-FEFFA388367F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38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  <p:sldLayoutId id="2147483828" r:id="rId12"/>
    <p:sldLayoutId id="2147483829" r:id="rId13"/>
    <p:sldLayoutId id="2147483830" r:id="rId14"/>
    <p:sldLayoutId id="2147483831" r:id="rId15"/>
    <p:sldLayoutId id="2147483832" r:id="rId16"/>
    <p:sldLayoutId id="2147483833" r:id="rId17"/>
    <p:sldLayoutId id="2147483834" r:id="rId18"/>
    <p:sldLayoutId id="2147483835" r:id="rId19"/>
    <p:sldLayoutId id="2147483836" r:id="rId20"/>
    <p:sldLayoutId id="2147483837" r:id="rId21"/>
    <p:sldLayoutId id="2147483838" r:id="rId22"/>
    <p:sldLayoutId id="2147483839" r:id="rId23"/>
    <p:sldLayoutId id="2147483840" r:id="rId24"/>
    <p:sldLayoutId id="2147483841" r:id="rId25"/>
    <p:sldLayoutId id="2147483842" r:id="rId26"/>
    <p:sldLayoutId id="2147483843" r:id="rId27"/>
    <p:sldLayoutId id="2147483844" r:id="rId28"/>
    <p:sldLayoutId id="2147483845" r:id="rId2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0" i="0" kern="1200">
          <a:solidFill>
            <a:schemeClr val="accent1"/>
          </a:solidFill>
          <a:latin typeface="Somfy Sans" panose="00000500000000000000" pitchFamily="50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BFT | Home, Building, Urban Access Automation">
            <a:extLst>
              <a:ext uri="{FF2B5EF4-FFF2-40B4-BE49-F238E27FC236}">
                <a16:creationId xmlns:a16="http://schemas.microsoft.com/office/drawing/2014/main" id="{859641F6-EDBA-0B52-C22A-0DC1D198BF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11" r="-2" b="-2"/>
          <a:stretch>
            <a:fillRect/>
          </a:stretch>
        </p:blipFill>
        <p:spPr bwMode="auto">
          <a:xfrm>
            <a:off x="20" y="10"/>
            <a:ext cx="6095980" cy="685799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</p:spPr>
      </p:pic>
      <p:sp>
        <p:nvSpPr>
          <p:cNvPr id="2057" name="Subtitle 2">
            <a:extLst>
              <a:ext uri="{FF2B5EF4-FFF2-40B4-BE49-F238E27FC236}">
                <a16:creationId xmlns:a16="http://schemas.microsoft.com/office/drawing/2014/main" id="{2B7C5EA4-F276-191E-C028-16BCD26AB4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13541" y="3939426"/>
            <a:ext cx="4318489" cy="1367360"/>
          </a:xfrm>
        </p:spPr>
        <p:txBody>
          <a:bodyPr>
            <a:normAutofit/>
          </a:bodyPr>
          <a:lstStyle/>
          <a:p>
            <a:pPr algn="ctr"/>
            <a:r>
              <a:rPr lang="en-US" b="1" dirty="0">
                <a:latin typeface="Somfy Sans" pitchFamily="2" charset="0"/>
                <a:ea typeface="+mj-ea"/>
                <a:cs typeface="+mj-cs"/>
              </a:rPr>
              <a:t>GUIDE TO CHOOSING</a:t>
            </a:r>
          </a:p>
        </p:txBody>
      </p:sp>
      <p:sp>
        <p:nvSpPr>
          <p:cNvPr id="2" name="Titre 5">
            <a:extLst>
              <a:ext uri="{FF2B5EF4-FFF2-40B4-BE49-F238E27FC236}">
                <a16:creationId xmlns:a16="http://schemas.microsoft.com/office/drawing/2014/main" id="{13862FA1-35E5-5414-6B0F-D270DEBCDB8D}"/>
              </a:ext>
            </a:extLst>
          </p:cNvPr>
          <p:cNvSpPr txBox="1">
            <a:spLocks/>
          </p:cNvSpPr>
          <p:nvPr/>
        </p:nvSpPr>
        <p:spPr>
          <a:xfrm>
            <a:off x="7013542" y="1709929"/>
            <a:ext cx="4318489" cy="136736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i="0" kern="1200">
                <a:solidFill>
                  <a:srgbClr val="25485A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pPr algn="ctr">
              <a:spcBef>
                <a:spcPts val="1000"/>
              </a:spcBef>
            </a:pPr>
            <a:r>
              <a:rPr lang="it-IT" dirty="0"/>
              <a:t>DEIMOS ULTRA BT B</a:t>
            </a:r>
            <a:endParaRPr lang="fr-FR" b="1" i="0" kern="1200" dirty="0">
              <a:latin typeface="Somfy San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60672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AB3FAE70-E801-C02D-8678-70CB1D94AD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761488"/>
            <a:ext cx="11126798" cy="2651760"/>
          </a:xfrm>
        </p:spPr>
        <p:txBody>
          <a:bodyPr/>
          <a:lstStyle/>
          <a:p>
            <a:r>
              <a:rPr lang="en-US" dirty="0"/>
              <a:t>VALUE PROPOSITION: </a:t>
            </a:r>
            <a:r>
              <a:rPr lang="en-US" b="0" dirty="0"/>
              <a:t>Tailored to streamline the installation process of sliding gate automation, new Deimos’ higher speed also improves convenience and security for the end user. Smart operator ready for the installer’s new </a:t>
            </a:r>
            <a:r>
              <a:rPr lang="en-US" b="0" dirty="0" err="1"/>
              <a:t>EasyAxs</a:t>
            </a:r>
            <a:r>
              <a:rPr lang="en-US" b="0" dirty="0"/>
              <a:t> tools and the end user's smart home systems.  Plus, new Deimos sets the standard for energy efficiency, aligning with the latest European Regulation, boasting minimal power consumption in standby mode.</a:t>
            </a:r>
            <a:r>
              <a:rPr lang="en-US" dirty="0"/>
              <a:t>​</a:t>
            </a:r>
            <a:endParaRPr lang="fr-FR" dirty="0"/>
          </a:p>
          <a:p>
            <a:r>
              <a:rPr lang="en-US" dirty="0"/>
              <a:t>SMART FEATURES </a:t>
            </a:r>
            <a:r>
              <a:rPr lang="en-US" b="0" dirty="0"/>
              <a:t>– new connected solutions for installers and end users, thanks to U-Link 2.0 and U-Security </a:t>
            </a:r>
          </a:p>
          <a:p>
            <a:r>
              <a:rPr lang="en-US" dirty="0"/>
              <a:t>FAST MANEUVERING </a:t>
            </a:r>
            <a:r>
              <a:rPr lang="en-US" b="0" dirty="0"/>
              <a:t>– new Deimos Ultra BT B and Deimos BT B increase gate maneuvering speed by 20% </a:t>
            </a:r>
            <a:endParaRPr lang="fr-FR" b="0" dirty="0"/>
          </a:p>
          <a:p>
            <a:endParaRPr lang="it-IT" dirty="0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BFB3A8E9-918F-9619-1FE6-F502522B1C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2AD0353B-8E1C-4997-D782-D32A07541A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2</a:t>
            </a:fld>
            <a:endParaRPr lang="en-GB"/>
          </a:p>
        </p:txBody>
      </p:sp>
      <p:sp>
        <p:nvSpPr>
          <p:cNvPr id="5" name="Titolo 4">
            <a:extLst>
              <a:ext uri="{FF2B5EF4-FFF2-40B4-BE49-F238E27FC236}">
                <a16:creationId xmlns:a16="http://schemas.microsoft.com/office/drawing/2014/main" id="{50F60677-0CBD-461F-4F21-D40F21D97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it-IT" dirty="0"/>
              <a:t>DEIMOS ULTRA BT B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C45D42B2-5D16-BF3B-CD94-64D86FC625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2325" y="648749"/>
            <a:ext cx="1473211" cy="1756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55522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A7427021-88CD-5AEC-8FF9-B553690F14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55581ACD-48D9-AE87-61BF-B5896B8CB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3</a:t>
            </a:fld>
            <a:endParaRPr lang="en-GB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227553FC-E522-BEB4-730C-C9BE64707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457189" rtl="0" eaLnBrk="1" latinLnBrk="0" hangingPunct="1">
              <a:spcBef>
                <a:spcPct val="0"/>
              </a:spcBef>
              <a:buNone/>
              <a:defRPr sz="2000" b="1" kern="1200" cap="all">
                <a:solidFill>
                  <a:srgbClr val="001C4B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2400" dirty="0">
                <a:solidFill>
                  <a:srgbClr val="25485A"/>
                </a:solidFill>
                <a:latin typeface="Somfy Sans" pitchFamily="2" charset="0"/>
              </a:rPr>
              <a:t>PHASE</a:t>
            </a:r>
            <a:r>
              <a:rPr lang="fr-FR" sz="2400" dirty="0"/>
              <a:t> </a:t>
            </a:r>
            <a:r>
              <a:rPr lang="fr-FR" sz="2400" dirty="0">
                <a:solidFill>
                  <a:srgbClr val="25485A"/>
                </a:solidFill>
                <a:latin typeface="Somfy Sans" pitchFamily="2" charset="0"/>
              </a:rPr>
              <a:t>IN DEIMOS ULTRA BT – New </a:t>
            </a:r>
            <a:r>
              <a:rPr lang="fr-FR" sz="2400" dirty="0" err="1">
                <a:solidFill>
                  <a:srgbClr val="25485A"/>
                </a:solidFill>
                <a:latin typeface="Somfy Sans" pitchFamily="2" charset="0"/>
              </a:rPr>
              <a:t>references</a:t>
            </a:r>
            <a:endParaRPr lang="fr-FR" sz="2400" dirty="0">
              <a:solidFill>
                <a:srgbClr val="25485A"/>
              </a:solidFill>
              <a:latin typeface="Somfy Sans" pitchFamily="2" charset="0"/>
            </a:endParaRPr>
          </a:p>
        </p:txBody>
      </p:sp>
      <p:graphicFrame>
        <p:nvGraphicFramePr>
          <p:cNvPr id="12" name="Segnaposto contenuto 11">
            <a:extLst>
              <a:ext uri="{FF2B5EF4-FFF2-40B4-BE49-F238E27FC236}">
                <a16:creationId xmlns:a16="http://schemas.microsoft.com/office/drawing/2014/main" id="{29DBB19D-234F-4A6C-2A4F-0784819EA31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09209470"/>
              </p:ext>
            </p:extLst>
          </p:nvPr>
        </p:nvGraphicFramePr>
        <p:xfrm>
          <a:off x="1448849" y="2962656"/>
          <a:ext cx="9105898" cy="2368295"/>
        </p:xfrm>
        <a:graphic>
          <a:graphicData uri="http://schemas.openxmlformats.org/drawingml/2006/table">
            <a:tbl>
              <a:tblPr/>
              <a:tblGrid>
                <a:gridCol w="1370644">
                  <a:extLst>
                    <a:ext uri="{9D8B030D-6E8A-4147-A177-3AD203B41FA5}">
                      <a16:colId xmlns:a16="http://schemas.microsoft.com/office/drawing/2014/main" val="1473118623"/>
                    </a:ext>
                  </a:extLst>
                </a:gridCol>
                <a:gridCol w="609175">
                  <a:extLst>
                    <a:ext uri="{9D8B030D-6E8A-4147-A177-3AD203B41FA5}">
                      <a16:colId xmlns:a16="http://schemas.microsoft.com/office/drawing/2014/main" val="426724298"/>
                    </a:ext>
                  </a:extLst>
                </a:gridCol>
                <a:gridCol w="2398627">
                  <a:extLst>
                    <a:ext uri="{9D8B030D-6E8A-4147-A177-3AD203B41FA5}">
                      <a16:colId xmlns:a16="http://schemas.microsoft.com/office/drawing/2014/main" val="3307219412"/>
                    </a:ext>
                  </a:extLst>
                </a:gridCol>
                <a:gridCol w="980391">
                  <a:extLst>
                    <a:ext uri="{9D8B030D-6E8A-4147-A177-3AD203B41FA5}">
                      <a16:colId xmlns:a16="http://schemas.microsoft.com/office/drawing/2014/main" val="2784542676"/>
                    </a:ext>
                  </a:extLst>
                </a:gridCol>
                <a:gridCol w="980391">
                  <a:extLst>
                    <a:ext uri="{9D8B030D-6E8A-4147-A177-3AD203B41FA5}">
                      <a16:colId xmlns:a16="http://schemas.microsoft.com/office/drawing/2014/main" val="285020238"/>
                    </a:ext>
                  </a:extLst>
                </a:gridCol>
                <a:gridCol w="609175">
                  <a:extLst>
                    <a:ext uri="{9D8B030D-6E8A-4147-A177-3AD203B41FA5}">
                      <a16:colId xmlns:a16="http://schemas.microsoft.com/office/drawing/2014/main" val="2119137945"/>
                    </a:ext>
                  </a:extLst>
                </a:gridCol>
                <a:gridCol w="2157495">
                  <a:extLst>
                    <a:ext uri="{9D8B030D-6E8A-4147-A177-3AD203B41FA5}">
                      <a16:colId xmlns:a16="http://schemas.microsoft.com/office/drawing/2014/main" val="3736147937"/>
                    </a:ext>
                  </a:extLst>
                </a:gridCol>
              </a:tblGrid>
              <a:tr h="431721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FT ID REF.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8E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DM REF.​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8E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LD MODEL​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8E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UBSTITUTION TYPE​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8E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EW BFT ID REF.​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8E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EW MDM REF.​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8E9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it-IT" sz="995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EW MODEL​ </a:t>
                      </a:r>
                      <a:endParaRPr lang="it-IT"/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8E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8742258"/>
                  </a:ext>
                </a:extLst>
              </a:tr>
              <a:tr h="271367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pt-BR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925221 00002​</a:t>
                      </a:r>
                    </a:p>
                  </a:txBody>
                  <a:tcPr marL="9525" marR="9525" marT="952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1580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pt-BR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IMOS ULTRA BT A400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LACED BY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1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925269 00002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8198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IMOS ULTRA BT B400​ </a:t>
                      </a:r>
                      <a:endParaRPr lang="it-IT"/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3056833"/>
                  </a:ext>
                </a:extLst>
              </a:tr>
              <a:tr h="271367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pt-BR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925223 00002​</a:t>
                      </a:r>
                    </a:p>
                  </a:txBody>
                  <a:tcPr marL="9525" marR="9525" marT="952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0852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pt-BR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IMOS ULTRA BT A600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LACED BY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1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925268 00002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8199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IMOS ULTRA BT B600​ </a:t>
                      </a:r>
                      <a:endParaRPr lang="it-IT"/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5803666"/>
                  </a:ext>
                </a:extLst>
              </a:tr>
              <a:tr h="271367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925265 00002​</a:t>
                      </a:r>
                    </a:p>
                  </a:txBody>
                  <a:tcPr marL="9525" marR="9525" marT="952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1817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pt-BR" sz="995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IMOS ULTRA BT KIT A400 FRA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LACED BY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1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925367 00002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8202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pt-BR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IMOS ULTRA BT KIT B400 INT​ </a:t>
                      </a:r>
                      <a:endParaRPr lang="it-IT"/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4741970"/>
                  </a:ext>
                </a:extLst>
              </a:tr>
              <a:tr h="271367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925290 00002​</a:t>
                      </a:r>
                    </a:p>
                  </a:txBody>
                  <a:tcPr marL="9525" marR="9525" marT="952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1837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pt-BR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IMOS ULTRA BT A400 KIT PL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LACED BY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1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925371 00002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8207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IMOS ULTRA BT KIT B400 EE​ </a:t>
                      </a:r>
                      <a:endParaRPr lang="it-IT"/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3021674"/>
                  </a:ext>
                </a:extLst>
              </a:tr>
              <a:tr h="271367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925269 00002​</a:t>
                      </a:r>
                    </a:p>
                  </a:txBody>
                  <a:tcPr marL="9525" marR="9525" marT="952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0881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pt-BR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IMOS ULTRA BT KIT A600 FRA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LACED BY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1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925372 00002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8211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pt-BR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IMOS ULTRA BT KIT B600 INT​ </a:t>
                      </a:r>
                      <a:endParaRPr lang="it-IT"/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4494413"/>
                  </a:ext>
                </a:extLst>
              </a:tr>
              <a:tr h="271367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925292 00002​</a:t>
                      </a:r>
                    </a:p>
                  </a:txBody>
                  <a:tcPr marL="9525" marR="9525" marT="952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1839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pt-BR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IMOS ULTRA BT A600 KIT PL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LACED BY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1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925375 00002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8214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IMOS ULTRA BT KIT B600 EE​ </a:t>
                      </a:r>
                      <a:endParaRPr lang="it-IT"/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6583965"/>
                  </a:ext>
                </a:extLst>
              </a:tr>
              <a:tr h="308372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</a:p>
                  </a:txBody>
                  <a:tcPr marL="9525" marR="9525" marT="952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W OFFER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1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925372 00005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995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8450​</a:t>
                      </a:r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it-IT" sz="995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IMOS ULTRA BT KIT B600 EASYAXS INT​ </a:t>
                      </a:r>
                      <a:endParaRPr lang="it-IT" dirty="0"/>
                    </a:p>
                  </a:txBody>
                  <a:tcPr marL="9525" marR="9525" marT="9525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0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9311755"/>
                  </a:ext>
                </a:extLst>
              </a:tr>
            </a:tbl>
          </a:graphicData>
        </a:graphic>
      </p:graphicFrame>
      <p:pic>
        <p:nvPicPr>
          <p:cNvPr id="13" name="Picture 2">
            <a:extLst>
              <a:ext uri="{FF2B5EF4-FFF2-40B4-BE49-F238E27FC236}">
                <a16:creationId xmlns:a16="http://schemas.microsoft.com/office/drawing/2014/main" id="{E0263811-D956-0903-9FE6-02AFB73450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1145" y="849917"/>
            <a:ext cx="1559527" cy="1701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05710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toC">
  <a:themeElements>
    <a:clrScheme name="Personnalisé 6">
      <a:dk1>
        <a:srgbClr val="24485A"/>
      </a:dk1>
      <a:lt1>
        <a:srgbClr val="FFFFFF"/>
      </a:lt1>
      <a:dk2>
        <a:srgbClr val="7C8D9B"/>
      </a:dk2>
      <a:lt2>
        <a:srgbClr val="FFFFFF"/>
      </a:lt2>
      <a:accent1>
        <a:srgbClr val="24485A"/>
      </a:accent1>
      <a:accent2>
        <a:srgbClr val="FAB800"/>
      </a:accent2>
      <a:accent3>
        <a:srgbClr val="CCC4BD"/>
      </a:accent3>
      <a:accent4>
        <a:srgbClr val="C3D2D6"/>
      </a:accent4>
      <a:accent5>
        <a:srgbClr val="FEEDBF"/>
      </a:accent5>
      <a:accent6>
        <a:srgbClr val="FBFAF8"/>
      </a:accent6>
      <a:hlink>
        <a:srgbClr val="DF94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omfyB2C.pptx" id="{D1DA1EF0-C2B0-DC4A-8A06-5F543B933898}" vid="{7BBDF827-0EBF-064E-B380-261900BE761E}"/>
    </a:ext>
  </a:extLst>
</a:theme>
</file>

<file path=ppt/theme/theme2.xml><?xml version="1.0" encoding="utf-8"?>
<a:theme xmlns:a="http://schemas.openxmlformats.org/drawingml/2006/main" name="2_BtoB">
  <a:themeElements>
    <a:clrScheme name="SOMFY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4484F"/>
      </a:accent1>
      <a:accent2>
        <a:srgbClr val="FFB61A"/>
      </a:accent2>
      <a:accent3>
        <a:srgbClr val="E4DBCF"/>
      </a:accent3>
      <a:accent4>
        <a:srgbClr val="FFE998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omfyB2B.potx" id="{D91C2053-4FE1-A447-B4CF-693C0214DF61}" vid="{AEAF9051-FEA7-5940-A2D3-07F19D90AF61}"/>
    </a:ext>
  </a:extLst>
</a:theme>
</file>

<file path=ppt/theme/theme3.xml><?xml version="1.0" encoding="utf-8"?>
<a:theme xmlns:a="http://schemas.openxmlformats.org/drawingml/2006/main" name="BtoB">
  <a:themeElements>
    <a:clrScheme name="SOMFY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4484F"/>
      </a:accent1>
      <a:accent2>
        <a:srgbClr val="FFB61A"/>
      </a:accent2>
      <a:accent3>
        <a:srgbClr val="E4DBCF"/>
      </a:accent3>
      <a:accent4>
        <a:srgbClr val="FFE998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omfyB2B.potx" id="{D91C2053-4FE1-A447-B4CF-693C0214DF61}" vid="{AEAF9051-FEA7-5940-A2D3-07F19D90AF61}"/>
    </a:ext>
  </a:extLst>
</a:theme>
</file>

<file path=ppt/theme/theme4.xml><?xml version="1.0" encoding="utf-8"?>
<a:theme xmlns:a="http://schemas.openxmlformats.org/drawingml/2006/main" name="1_BtoB">
  <a:themeElements>
    <a:clrScheme name="SOMFY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4484F"/>
      </a:accent1>
      <a:accent2>
        <a:srgbClr val="FFB61A"/>
      </a:accent2>
      <a:accent3>
        <a:srgbClr val="E4DBCF"/>
      </a:accent3>
      <a:accent4>
        <a:srgbClr val="FFE998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omfyB2B.potx" id="{D91C2053-4FE1-A447-B4CF-693C0214DF61}" vid="{AEAF9051-FEA7-5940-A2D3-07F19D90AF61}"/>
    </a:ext>
  </a:ext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79f8234-1b3a-43c6-877d-00555ce149dc">
      <UserInfo>
        <DisplayName>HRNCIR, Jan</DisplayName>
        <AccountId>8385</AccountId>
        <AccountType/>
      </UserInfo>
    </SharedWithUsers>
    <SomfyDocumentTypeTaxHTField xmlns="20434CEC-F224-445D-89C8-DA7D5882575D">
      <Terms xmlns="http://schemas.microsoft.com/office/infopath/2007/PartnerControls"/>
    </SomfyDocumentTypeTaxHTField>
    <SomfyTagsTaxHTField xmlns="20434CEC-F224-445D-89C8-DA7D5882575D">
      <Terms xmlns="http://schemas.microsoft.com/office/infopath/2007/PartnerControls"/>
    </SomfyTagsTaxHTField>
    <TaxCatchAll xmlns="579f8234-1b3a-43c6-877d-00555ce149dc" xsi:nil="true"/>
    <lcf76f155ced4ddcb4097134ff3c332f xmlns="3e1aacae-9e28-4cb9-a711-7bf6fdad1110">
      <Terms xmlns="http://schemas.microsoft.com/office/infopath/2007/PartnerControls"/>
    </lcf76f155ced4ddcb4097134ff3c332f>
    <SomfySite xmlns="579f8234-1b3a-43c6-877d-00555ce149dc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9198A4C9DBE41DC9E4CEB39D1D3D20B00DB39C438DF6EDA418DF2A590C03B882E" ma:contentTypeVersion="16" ma:contentTypeDescription="Create a new document." ma:contentTypeScope="" ma:versionID="14d251fc83959c107b34af4afbcdf626">
  <xsd:schema xmlns:xsd="http://www.w3.org/2001/XMLSchema" xmlns:xs="http://www.w3.org/2001/XMLSchema" xmlns:p="http://schemas.microsoft.com/office/2006/metadata/properties" xmlns:ns2="20434CEC-F224-445D-89C8-DA7D5882575D" xmlns:ns3="579f8234-1b3a-43c6-877d-00555ce149dc" xmlns:ns4="3e1aacae-9e28-4cb9-a711-7bf6fdad1110" targetNamespace="http://schemas.microsoft.com/office/2006/metadata/properties" ma:root="true" ma:fieldsID="e3cccb47932b71a2dd86f71beb38e40a" ns2:_="" ns3:_="" ns4:_="">
    <xsd:import namespace="20434CEC-F224-445D-89C8-DA7D5882575D"/>
    <xsd:import namespace="579f8234-1b3a-43c6-877d-00555ce149dc"/>
    <xsd:import namespace="3e1aacae-9e28-4cb9-a711-7bf6fdad1110"/>
    <xsd:element name="properties">
      <xsd:complexType>
        <xsd:sequence>
          <xsd:element name="documentManagement">
            <xsd:complexType>
              <xsd:all>
                <xsd:element ref="ns2:SomfyTagsTaxHTField" minOccurs="0"/>
                <xsd:element ref="ns2:SomfyDocumentTypeTaxHTField" minOccurs="0"/>
                <xsd:element ref="ns3:SomfySite" minOccurs="0"/>
                <xsd:element ref="ns3:TaxCatchAll" minOccurs="0"/>
                <xsd:element ref="ns4:MediaServiceMetadata" minOccurs="0"/>
                <xsd:element ref="ns4:MediaServiceFastMetadata" minOccurs="0"/>
                <xsd:element ref="ns3:SharedWithUsers" minOccurs="0"/>
                <xsd:element ref="ns3:SharedWithDetails" minOccurs="0"/>
                <xsd:element ref="ns4:lcf76f155ced4ddcb4097134ff3c332f" minOccurs="0"/>
                <xsd:element ref="ns4:MediaServiceDateTaken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LengthInSeconds" minOccurs="0"/>
                <xsd:element ref="ns4:MediaServiceObjectDetectorVersions" minOccurs="0"/>
                <xsd:element ref="ns4:MediaServiceSearchProperties" minOccurs="0"/>
                <xsd:element ref="ns4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434CEC-F224-445D-89C8-DA7D5882575D" elementFormDefault="qualified">
    <xsd:import namespace="http://schemas.microsoft.com/office/2006/documentManagement/types"/>
    <xsd:import namespace="http://schemas.microsoft.com/office/infopath/2007/PartnerControls"/>
    <xsd:element name="SomfyTagsTaxHTField" ma:index="8" nillable="true" ma:taxonomy="true" ma:internalName="SomfyTagsTaxHTField" ma:taxonomyFieldName="SomfyTags" ma:displayName="Tags" ma:fieldId="{8b81c89c-6d4b-4a9e-bfe4-626fe045d6df}" ma:taxonomyMulti="true" ma:sspId="4560a912-820e-4fa3-9fe9-00a4a9064378" ma:termSetId="3ac6d041-c917-422f-9282-66ea33c5c43a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SomfyDocumentTypeTaxHTField" ma:index="10" nillable="true" ma:taxonomy="true" ma:internalName="SomfyDocumentTypeTaxHTField" ma:taxonomyFieldName="SomfyDocumentType" ma:displayName="Document Type" ma:fieldId="{809ca003-ebd1-4854-a594-2d312d6d6983}" ma:sspId="4560a912-820e-4fa3-9fe9-00a4a9064378" ma:termSetId="8b5d468f-06c9-4f1d-a6b4-0e5e089ccb37" ma:anchorId="00000000-0000-0000-0000-000000000000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9f8234-1b3a-43c6-877d-00555ce149dc" elementFormDefault="qualified">
    <xsd:import namespace="http://schemas.microsoft.com/office/2006/documentManagement/types"/>
    <xsd:import namespace="http://schemas.microsoft.com/office/infopath/2007/PartnerControls"/>
    <xsd:element name="SomfySite" ma:index="12" nillable="true" ma:displayName="Site" ma:hidden="true" ma:internalName="SomfySite">
      <xsd:simpleType>
        <xsd:restriction base="dms:Text">
          <xsd:maxLength value="255"/>
        </xsd:restriction>
      </xsd:simpleType>
    </xsd:element>
    <xsd:element name="TaxCatchAll" ma:index="13" nillable="true" ma:displayName="Taxonomy Catch All Column" ma:description="" ma:hidden="true" ma:list="{4b62be17-7237-4d73-8643-1aaf087bd901}" ma:internalName="TaxCatchAll" ma:showField="CatchAllData" ma:web="579f8234-1b3a-43c6-877d-00555ce149d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1aacae-9e28-4cb9-a711-7bf6fdad11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4560a912-820e-4fa3-9fe9-00a4a906437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8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2F3808B-8BBE-4A71-A001-A90A7F9A0D1E}">
  <ds:schemaRefs>
    <ds:schemaRef ds:uri="20434CEC-F224-445D-89C8-DA7D5882575D"/>
    <ds:schemaRef ds:uri="3e1aacae-9e28-4cb9-a711-7bf6fdad1110"/>
    <ds:schemaRef ds:uri="579f8234-1b3a-43c6-877d-00555ce149dc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F0CC633-74FE-419D-929C-9FEFF342768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0EEFC37-0C5B-428C-9C4E-897683D9A0C1}">
  <ds:schemaRefs>
    <ds:schemaRef ds:uri="20434CEC-F224-445D-89C8-DA7D5882575D"/>
    <ds:schemaRef ds:uri="3e1aacae-9e28-4cb9-a711-7bf6fdad1110"/>
    <ds:schemaRef ds:uri="579f8234-1b3a-43c6-877d-00555ce149d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ème Office</Template>
  <TotalTime>0</TotalTime>
  <Words>334</Words>
  <Application>Microsoft Office PowerPoint</Application>
  <PresentationFormat>Widescreen</PresentationFormat>
  <Paragraphs>66</Paragraphs>
  <Slides>3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BtoC</vt:lpstr>
      <vt:lpstr>2_BtoB</vt:lpstr>
      <vt:lpstr>BtoB</vt:lpstr>
      <vt:lpstr>1_BtoB</vt:lpstr>
      <vt:lpstr>PowerPoint Presentation</vt:lpstr>
      <vt:lpstr>DEIMOS ULTRA BT B</vt:lpstr>
      <vt:lpstr>PHASE IN DEIMOS ULTRA BT – New referen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re de  la présentation  en 3 lignes</dc:title>
  <dc:creator>Ferry, Joanna (PAR-FUB)</dc:creator>
  <cp:lastModifiedBy>MONTINI, Enrico</cp:lastModifiedBy>
  <cp:revision>4</cp:revision>
  <dcterms:created xsi:type="dcterms:W3CDTF">2022-05-02T10:02:42Z</dcterms:created>
  <dcterms:modified xsi:type="dcterms:W3CDTF">2025-09-25T09:26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fcb221a-6e97-4d92-b656-ecf531a71c86_Enabled">
    <vt:lpwstr>true</vt:lpwstr>
  </property>
  <property fmtid="{D5CDD505-2E9C-101B-9397-08002B2CF9AE}" pid="3" name="MSIP_Label_afcb221a-6e97-4d92-b656-ecf531a71c86_SetDate">
    <vt:lpwstr>2022-11-18T09:51:33Z</vt:lpwstr>
  </property>
  <property fmtid="{D5CDD505-2E9C-101B-9397-08002B2CF9AE}" pid="4" name="MSIP_Label_afcb221a-6e97-4d92-b656-ecf531a71c86_Method">
    <vt:lpwstr>Standard</vt:lpwstr>
  </property>
  <property fmtid="{D5CDD505-2E9C-101B-9397-08002B2CF9AE}" pid="5" name="MSIP_Label_afcb221a-6e97-4d92-b656-ecf531a71c86_Name">
    <vt:lpwstr>General</vt:lpwstr>
  </property>
  <property fmtid="{D5CDD505-2E9C-101B-9397-08002B2CF9AE}" pid="6" name="MSIP_Label_afcb221a-6e97-4d92-b656-ecf531a71c86_SiteId">
    <vt:lpwstr>6f2633ea-c60d-4a07-be1c-b5cd19f27133</vt:lpwstr>
  </property>
  <property fmtid="{D5CDD505-2E9C-101B-9397-08002B2CF9AE}" pid="7" name="MSIP_Label_afcb221a-6e97-4d92-b656-ecf531a71c86_ActionId">
    <vt:lpwstr>a5b01d10-b8c9-409f-8729-884a06ec42b7</vt:lpwstr>
  </property>
  <property fmtid="{D5CDD505-2E9C-101B-9397-08002B2CF9AE}" pid="8" name="MSIP_Label_afcb221a-6e97-4d92-b656-ecf531a71c86_ContentBits">
    <vt:lpwstr>0</vt:lpwstr>
  </property>
  <property fmtid="{D5CDD505-2E9C-101B-9397-08002B2CF9AE}" pid="9" name="ContentTypeId">
    <vt:lpwstr>0x010100E9198A4C9DBE41DC9E4CEB39D1D3D20B00DB39C438DF6EDA418DF2A590C03B882E</vt:lpwstr>
  </property>
  <property fmtid="{D5CDD505-2E9C-101B-9397-08002B2CF9AE}" pid="10" name="MediaServiceImageTags">
    <vt:lpwstr/>
  </property>
  <property fmtid="{D5CDD505-2E9C-101B-9397-08002B2CF9AE}" pid="11" name="SomfyDocumentType">
    <vt:lpwstr/>
  </property>
  <property fmtid="{D5CDD505-2E9C-101B-9397-08002B2CF9AE}" pid="12" name="SomfyTags">
    <vt:lpwstr/>
  </property>
</Properties>
</file>